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313" r:id="rId2"/>
    <p:sldId id="326" r:id="rId3"/>
    <p:sldId id="325" r:id="rId4"/>
    <p:sldId id="268" r:id="rId5"/>
    <p:sldId id="312" r:id="rId6"/>
    <p:sldId id="266" r:id="rId7"/>
    <p:sldId id="327" r:id="rId8"/>
    <p:sldId id="319" r:id="rId9"/>
    <p:sldId id="301" r:id="rId10"/>
    <p:sldId id="290" r:id="rId11"/>
    <p:sldId id="299" r:id="rId12"/>
  </p:sldIdLst>
  <p:sldSz cx="13357225" cy="7524750"/>
  <p:notesSz cx="7099300" cy="10234613"/>
  <p:defaultTextStyle>
    <a:defPPr>
      <a:defRPr lang="pt-BR"/>
    </a:defPPr>
    <a:lvl1pPr marL="0" algn="l" defTabSz="91449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46" algn="l" defTabSz="91449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91" algn="l" defTabSz="91449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737" algn="l" defTabSz="91449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983" algn="l" defTabSz="91449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229" algn="l" defTabSz="91449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474" algn="l" defTabSz="91449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720" algn="l" defTabSz="91449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966" algn="l" defTabSz="91449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78E"/>
    <a:srgbClr val="76B4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620"/>
    <p:restoredTop sz="94660"/>
  </p:normalViewPr>
  <p:slideViewPr>
    <p:cSldViewPr>
      <p:cViewPr>
        <p:scale>
          <a:sx n="60" d="100"/>
          <a:sy n="60" d="100"/>
        </p:scale>
        <p:origin x="-270" y="-150"/>
      </p:cViewPr>
      <p:guideLst>
        <p:guide orient="horz" pos="2370"/>
        <p:guide pos="420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dirty="0">
                <a:solidFill>
                  <a:srgbClr val="00478E"/>
                </a:solidFill>
              </a:rPr>
              <a:t>kg CO</a:t>
            </a:r>
            <a:r>
              <a:rPr lang="en-US" baseline="-25000" dirty="0">
                <a:solidFill>
                  <a:srgbClr val="00478E"/>
                </a:solidFill>
              </a:rPr>
              <a:t>2</a:t>
            </a:r>
            <a:r>
              <a:rPr lang="en-US" dirty="0">
                <a:solidFill>
                  <a:srgbClr val="00478E"/>
                </a:solidFill>
              </a:rPr>
              <a:t>(</a:t>
            </a:r>
            <a:r>
              <a:rPr lang="en-US" dirty="0" err="1">
                <a:solidFill>
                  <a:srgbClr val="00478E"/>
                </a:solidFill>
              </a:rPr>
              <a:t>eq</a:t>
            </a:r>
            <a:r>
              <a:rPr lang="en-US" dirty="0">
                <a:solidFill>
                  <a:srgbClr val="00478E"/>
                </a:solidFill>
              </a:rPr>
              <a:t>) per </a:t>
            </a:r>
            <a:r>
              <a:rPr lang="en-US" dirty="0" err="1" smtClean="0">
                <a:solidFill>
                  <a:srgbClr val="00478E"/>
                </a:solidFill>
              </a:rPr>
              <a:t>dmt</a:t>
            </a:r>
            <a:r>
              <a:rPr lang="en-US" dirty="0" smtClean="0">
                <a:solidFill>
                  <a:srgbClr val="00478E"/>
                </a:solidFill>
              </a:rPr>
              <a:t> pellet – Mean</a:t>
            </a:r>
            <a:r>
              <a:rPr lang="en-US" baseline="0" dirty="0" smtClean="0">
                <a:solidFill>
                  <a:srgbClr val="00478E"/>
                </a:solidFill>
              </a:rPr>
              <a:t> Values</a:t>
            </a:r>
            <a:endParaRPr lang="en-US" dirty="0">
              <a:solidFill>
                <a:srgbClr val="00478E"/>
              </a:solidFill>
            </a:endParaRP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kg CO2(eq) per ton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Plan1!$A$2:$A$3</c:f>
              <c:strCache>
                <c:ptCount val="2"/>
                <c:pt idx="0">
                  <c:v>until 2009</c:v>
                </c:pt>
                <c:pt idx="1">
                  <c:v>from 2010 onwards</c:v>
                </c:pt>
              </c:strCache>
            </c:strRef>
          </c:cat>
          <c:val>
            <c:numRef>
              <c:f>Plan1!$B$2:$B$3</c:f>
              <c:numCache>
                <c:formatCode>General</c:formatCode>
                <c:ptCount val="2"/>
                <c:pt idx="0">
                  <c:v>104.3</c:v>
                </c:pt>
                <c:pt idx="1">
                  <c:v>89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163520"/>
        <c:axId val="35849344"/>
      </c:barChart>
      <c:catAx>
        <c:axId val="351635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5849344"/>
        <c:crosses val="autoZero"/>
        <c:auto val="1"/>
        <c:lblAlgn val="ctr"/>
        <c:lblOffset val="100"/>
        <c:noMultiLvlLbl val="0"/>
      </c:catAx>
      <c:valAx>
        <c:axId val="35849344"/>
        <c:scaling>
          <c:orientation val="minMax"/>
          <c:max val="120"/>
          <c:min val="70"/>
        </c:scaling>
        <c:delete val="1"/>
        <c:axPos val="l"/>
        <c:majorGridlines>
          <c:spPr>
            <a:ln>
              <a:solidFill>
                <a:schemeClr val="bg2"/>
              </a:solidFill>
            </a:ln>
          </c:spPr>
        </c:majorGridlines>
        <c:numFmt formatCode="General" sourceLinked="1"/>
        <c:majorTickMark val="out"/>
        <c:minorTickMark val="none"/>
        <c:tickLblPos val="none"/>
        <c:crossAx val="35163520"/>
        <c:crosses val="autoZero"/>
        <c:crossBetween val="between"/>
        <c:maj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/>
          <a:lstStyle/>
          <a:p>
            <a:pPr>
              <a:defRPr sz="1800"/>
            </a:pPr>
            <a:r>
              <a:rPr lang="en-US" sz="1800" dirty="0">
                <a:solidFill>
                  <a:srgbClr val="00478E"/>
                </a:solidFill>
              </a:rPr>
              <a:t>kg CO</a:t>
            </a:r>
            <a:r>
              <a:rPr lang="en-US" sz="1800" baseline="-25000" dirty="0">
                <a:solidFill>
                  <a:srgbClr val="00478E"/>
                </a:solidFill>
              </a:rPr>
              <a:t>2</a:t>
            </a:r>
            <a:r>
              <a:rPr lang="en-US" sz="1800" dirty="0">
                <a:solidFill>
                  <a:srgbClr val="00478E"/>
                </a:solidFill>
              </a:rPr>
              <a:t>(</a:t>
            </a:r>
            <a:r>
              <a:rPr lang="en-US" sz="1800" dirty="0" err="1">
                <a:solidFill>
                  <a:srgbClr val="00478E"/>
                </a:solidFill>
              </a:rPr>
              <a:t>eq</a:t>
            </a:r>
            <a:r>
              <a:rPr lang="en-US" sz="1800" dirty="0">
                <a:solidFill>
                  <a:srgbClr val="00478E"/>
                </a:solidFill>
              </a:rPr>
              <a:t>) per t steel</a:t>
            </a:r>
          </a:p>
        </c:rich>
      </c:tx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kg CO2(eq) per t steel</c:v>
                </c:pt>
              </c:strCache>
            </c:strRef>
          </c:tx>
          <c:invertIfNegative val="0"/>
          <c:dLbls>
            <c:dLbl>
              <c:idx val="6"/>
              <c:tx>
                <c:rich>
                  <a:bodyPr/>
                  <a:lstStyle/>
                  <a:p>
                    <a:r>
                      <a:rPr lang="en-US" sz="1600" b="1" dirty="0" smtClean="0"/>
                      <a:t>86,5 (E)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/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Plan1!$A$2:$A$3</c:f>
              <c:strCache>
                <c:ptCount val="2"/>
                <c:pt idx="0">
                  <c:v>SINTER PLANTS</c:v>
                </c:pt>
                <c:pt idx="1">
                  <c:v>PELLET PLANTS</c:v>
                </c:pt>
              </c:strCache>
            </c:strRef>
          </c:cat>
          <c:val>
            <c:numRef>
              <c:f>Plan1!$B$2:$B$3</c:f>
              <c:numCache>
                <c:formatCode>General</c:formatCode>
                <c:ptCount val="2"/>
                <c:pt idx="0">
                  <c:v>268</c:v>
                </c:pt>
                <c:pt idx="1">
                  <c:v>17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5882112"/>
        <c:axId val="35883648"/>
      </c:barChart>
      <c:catAx>
        <c:axId val="35882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/>
            </a:pPr>
            <a:endParaRPr lang="pt-BR"/>
          </a:p>
        </c:txPr>
        <c:crossAx val="35883648"/>
        <c:crosses val="autoZero"/>
        <c:auto val="1"/>
        <c:lblAlgn val="ctr"/>
        <c:lblOffset val="100"/>
        <c:noMultiLvlLbl val="0"/>
      </c:catAx>
      <c:valAx>
        <c:axId val="35883648"/>
        <c:scaling>
          <c:orientation val="minMax"/>
          <c:max val="270"/>
          <c:min val="100"/>
        </c:scaling>
        <c:delete val="0"/>
        <c:axPos val="l"/>
        <c:majorGridlines>
          <c:spPr>
            <a:ln>
              <a:solidFill>
                <a:schemeClr val="bg2"/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pt-BR"/>
          </a:p>
        </c:txPr>
        <c:crossAx val="35882112"/>
        <c:crosses val="autoZero"/>
        <c:crossBetween val="between"/>
        <c:majorUnit val="20"/>
      </c:valAx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8F979D-978B-467A-BAF3-5A88577395AB}" type="datetimeFigureOut">
              <a:rPr lang="pt-BR" smtClean="0"/>
              <a:t>30/08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44463" y="768350"/>
            <a:ext cx="68103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9613" y="4860925"/>
            <a:ext cx="5680075" cy="4605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760B10-DFA6-4384-9AD2-8E05B539715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8651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44463" y="768350"/>
            <a:ext cx="6810375" cy="383698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E734B2C5-4FA0-4DF3-9D17-0E223A662BB2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001793" y="2337555"/>
            <a:ext cx="11353642" cy="1612943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003584" y="4264027"/>
            <a:ext cx="9350059" cy="192299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4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C4689-B9B5-4926-A451-7B6A379998BA}" type="datetimeFigureOut">
              <a:rPr lang="pt-BR" smtClean="0"/>
              <a:pPr/>
              <a:t>30/08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1A704-145A-454D-A718-A0AA6E4D513D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C4689-B9B5-4926-A451-7B6A379998BA}" type="datetimeFigureOut">
              <a:rPr lang="pt-BR" smtClean="0"/>
              <a:pPr/>
              <a:t>30/08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1A704-145A-454D-A718-A0AA6E4D513D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9686309" y="301340"/>
            <a:ext cx="3005376" cy="6422164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67862" y="301340"/>
            <a:ext cx="8795827" cy="6422164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C4689-B9B5-4926-A451-7B6A379998BA}" type="datetimeFigureOut">
              <a:rPr lang="pt-BR" smtClean="0"/>
              <a:pPr/>
              <a:t>30/08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1A704-145A-454D-A718-A0AA6E4D513D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93389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C4689-B9B5-4926-A451-7B6A379998BA}" type="datetimeFigureOut">
              <a:rPr lang="pt-BR" smtClean="0"/>
              <a:pPr/>
              <a:t>30/08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1A704-145A-454D-A718-A0AA6E4D513D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55129" y="4835349"/>
            <a:ext cx="11353642" cy="1494498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055129" y="3189313"/>
            <a:ext cx="11353642" cy="16460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7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9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22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4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7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9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C4689-B9B5-4926-A451-7B6A379998BA}" type="datetimeFigureOut">
              <a:rPr lang="pt-BR" smtClean="0"/>
              <a:pPr/>
              <a:t>30/08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1A704-145A-454D-A718-A0AA6E4D513D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67867" y="1755778"/>
            <a:ext cx="5899440" cy="496772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89925" y="1755778"/>
            <a:ext cx="5901762" cy="496772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C4689-B9B5-4926-A451-7B6A379998BA}" type="datetimeFigureOut">
              <a:rPr lang="pt-BR" smtClean="0"/>
              <a:pPr/>
              <a:t>30/08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1A704-145A-454D-A718-A0AA6E4D513D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7863" y="301345"/>
            <a:ext cx="12021502" cy="1254125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67864" y="1684365"/>
            <a:ext cx="5901762" cy="70196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46" indent="0">
              <a:buNone/>
              <a:defRPr sz="2000" b="1"/>
            </a:lvl2pPr>
            <a:lvl3pPr marL="914491" indent="0">
              <a:buNone/>
              <a:defRPr sz="1800" b="1"/>
            </a:lvl3pPr>
            <a:lvl4pPr marL="1371737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9" indent="0">
              <a:buNone/>
              <a:defRPr sz="1600" b="1"/>
            </a:lvl6pPr>
            <a:lvl7pPr marL="2743474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67864" y="2386326"/>
            <a:ext cx="5901762" cy="433544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785293" y="1684365"/>
            <a:ext cx="5904079" cy="70196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46" indent="0">
              <a:buNone/>
              <a:defRPr sz="2000" b="1"/>
            </a:lvl2pPr>
            <a:lvl3pPr marL="914491" indent="0">
              <a:buNone/>
              <a:defRPr sz="1800" b="1"/>
            </a:lvl3pPr>
            <a:lvl4pPr marL="1371737" indent="0">
              <a:buNone/>
              <a:defRPr sz="1600" b="1"/>
            </a:lvl4pPr>
            <a:lvl5pPr marL="1828983" indent="0">
              <a:buNone/>
              <a:defRPr sz="1600" b="1"/>
            </a:lvl5pPr>
            <a:lvl6pPr marL="2286229" indent="0">
              <a:buNone/>
              <a:defRPr sz="1600" b="1"/>
            </a:lvl6pPr>
            <a:lvl7pPr marL="2743474" indent="0">
              <a:buNone/>
              <a:defRPr sz="1600" b="1"/>
            </a:lvl7pPr>
            <a:lvl8pPr marL="3200720" indent="0">
              <a:buNone/>
              <a:defRPr sz="1600" b="1"/>
            </a:lvl8pPr>
            <a:lvl9pPr marL="3657966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785293" y="2386326"/>
            <a:ext cx="5904079" cy="433544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C4689-B9B5-4926-A451-7B6A379998BA}" type="datetimeFigureOut">
              <a:rPr lang="pt-BR" smtClean="0"/>
              <a:pPr/>
              <a:t>30/08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1A704-145A-454D-A718-A0AA6E4D513D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C4689-B9B5-4926-A451-7B6A379998BA}" type="datetimeFigureOut">
              <a:rPr lang="pt-BR" smtClean="0"/>
              <a:pPr/>
              <a:t>30/08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1A704-145A-454D-A718-A0AA6E4D513D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C4689-B9B5-4926-A451-7B6A379998BA}" type="datetimeFigureOut">
              <a:rPr lang="pt-BR" smtClean="0"/>
              <a:pPr/>
              <a:t>30/08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1A704-145A-454D-A718-A0AA6E4D513D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67865" y="299601"/>
            <a:ext cx="4394434" cy="127502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222307" y="299598"/>
            <a:ext cx="7467060" cy="642216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67865" y="1574625"/>
            <a:ext cx="4394434" cy="5147138"/>
          </a:xfrm>
        </p:spPr>
        <p:txBody>
          <a:bodyPr/>
          <a:lstStyle>
            <a:lvl1pPr marL="0" indent="0">
              <a:buNone/>
              <a:defRPr sz="1400"/>
            </a:lvl1pPr>
            <a:lvl2pPr marL="457246" indent="0">
              <a:buNone/>
              <a:defRPr sz="1200"/>
            </a:lvl2pPr>
            <a:lvl3pPr marL="914491" indent="0">
              <a:buNone/>
              <a:defRPr sz="1000"/>
            </a:lvl3pPr>
            <a:lvl4pPr marL="1371737" indent="0">
              <a:buNone/>
              <a:defRPr sz="900"/>
            </a:lvl4pPr>
            <a:lvl5pPr marL="1828983" indent="0">
              <a:buNone/>
              <a:defRPr sz="900"/>
            </a:lvl5pPr>
            <a:lvl6pPr marL="2286229" indent="0">
              <a:buNone/>
              <a:defRPr sz="900"/>
            </a:lvl6pPr>
            <a:lvl7pPr marL="2743474" indent="0">
              <a:buNone/>
              <a:defRPr sz="900"/>
            </a:lvl7pPr>
            <a:lvl8pPr marL="3200720" indent="0">
              <a:buNone/>
              <a:defRPr sz="900"/>
            </a:lvl8pPr>
            <a:lvl9pPr marL="3657966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C4689-B9B5-4926-A451-7B6A379998BA}" type="datetimeFigureOut">
              <a:rPr lang="pt-BR" smtClean="0"/>
              <a:pPr/>
              <a:t>30/08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1A704-145A-454D-A718-A0AA6E4D513D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618111" y="5267327"/>
            <a:ext cx="8014335" cy="6218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618111" y="672353"/>
            <a:ext cx="8014335" cy="4514850"/>
          </a:xfrm>
        </p:spPr>
        <p:txBody>
          <a:bodyPr/>
          <a:lstStyle>
            <a:lvl1pPr marL="0" indent="0">
              <a:buNone/>
              <a:defRPr sz="3200"/>
            </a:lvl1pPr>
            <a:lvl2pPr marL="457246" indent="0">
              <a:buNone/>
              <a:defRPr sz="2800"/>
            </a:lvl2pPr>
            <a:lvl3pPr marL="914491" indent="0">
              <a:buNone/>
              <a:defRPr sz="2400"/>
            </a:lvl3pPr>
            <a:lvl4pPr marL="1371737" indent="0">
              <a:buNone/>
              <a:defRPr sz="2000"/>
            </a:lvl4pPr>
            <a:lvl5pPr marL="1828983" indent="0">
              <a:buNone/>
              <a:defRPr sz="2000"/>
            </a:lvl5pPr>
            <a:lvl6pPr marL="2286229" indent="0">
              <a:buNone/>
              <a:defRPr sz="2000"/>
            </a:lvl6pPr>
            <a:lvl7pPr marL="2743474" indent="0">
              <a:buNone/>
              <a:defRPr sz="2000"/>
            </a:lvl7pPr>
            <a:lvl8pPr marL="3200720" indent="0">
              <a:buNone/>
              <a:defRPr sz="2000"/>
            </a:lvl8pPr>
            <a:lvl9pPr marL="3657966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618111" y="5889164"/>
            <a:ext cx="8014335" cy="883112"/>
          </a:xfrm>
        </p:spPr>
        <p:txBody>
          <a:bodyPr/>
          <a:lstStyle>
            <a:lvl1pPr marL="0" indent="0">
              <a:buNone/>
              <a:defRPr sz="1400"/>
            </a:lvl1pPr>
            <a:lvl2pPr marL="457246" indent="0">
              <a:buNone/>
              <a:defRPr sz="1200"/>
            </a:lvl2pPr>
            <a:lvl3pPr marL="914491" indent="0">
              <a:buNone/>
              <a:defRPr sz="1000"/>
            </a:lvl3pPr>
            <a:lvl4pPr marL="1371737" indent="0">
              <a:buNone/>
              <a:defRPr sz="900"/>
            </a:lvl4pPr>
            <a:lvl5pPr marL="1828983" indent="0">
              <a:buNone/>
              <a:defRPr sz="900"/>
            </a:lvl5pPr>
            <a:lvl6pPr marL="2286229" indent="0">
              <a:buNone/>
              <a:defRPr sz="900"/>
            </a:lvl6pPr>
            <a:lvl7pPr marL="2743474" indent="0">
              <a:buNone/>
              <a:defRPr sz="900"/>
            </a:lvl7pPr>
            <a:lvl8pPr marL="3200720" indent="0">
              <a:buNone/>
              <a:defRPr sz="900"/>
            </a:lvl8pPr>
            <a:lvl9pPr marL="3657966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C4689-B9B5-4926-A451-7B6A379998BA}" type="datetimeFigureOut">
              <a:rPr lang="pt-BR" smtClean="0"/>
              <a:pPr/>
              <a:t>30/08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1A704-145A-454D-A718-A0AA6E4D513D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667863" y="301345"/>
            <a:ext cx="12021502" cy="1254125"/>
          </a:xfrm>
          <a:prstGeom prst="rect">
            <a:avLst/>
          </a:prstGeom>
        </p:spPr>
        <p:txBody>
          <a:bodyPr vert="horz" lIns="91449" tIns="45725" rIns="91449" bIns="45725" rtlCol="0" anchor="ctr">
            <a:normAutofit/>
          </a:bodyPr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67863" y="1755776"/>
            <a:ext cx="12021502" cy="4965987"/>
          </a:xfrm>
          <a:prstGeom prst="rect">
            <a:avLst/>
          </a:prstGeom>
        </p:spPr>
        <p:txBody>
          <a:bodyPr vert="horz" lIns="91449" tIns="45725" rIns="91449" bIns="45725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667861" y="6974329"/>
            <a:ext cx="3116687" cy="400624"/>
          </a:xfrm>
          <a:prstGeom prst="rect">
            <a:avLst/>
          </a:prstGeom>
        </p:spPr>
        <p:txBody>
          <a:bodyPr vert="horz" lIns="91449" tIns="45725" rIns="91449" bIns="45725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CC4689-B9B5-4926-A451-7B6A379998BA}" type="datetimeFigureOut">
              <a:rPr lang="pt-BR" smtClean="0"/>
              <a:pPr/>
              <a:t>30/08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563726" y="6974329"/>
            <a:ext cx="4229789" cy="400624"/>
          </a:xfrm>
          <a:prstGeom prst="rect">
            <a:avLst/>
          </a:prstGeom>
        </p:spPr>
        <p:txBody>
          <a:bodyPr vert="horz" lIns="91449" tIns="45725" rIns="91449" bIns="45725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9572681" y="6974329"/>
            <a:ext cx="3116687" cy="400624"/>
          </a:xfrm>
          <a:prstGeom prst="rect">
            <a:avLst/>
          </a:prstGeom>
        </p:spPr>
        <p:txBody>
          <a:bodyPr vert="horz" lIns="91449" tIns="45725" rIns="91449" bIns="45725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E1A704-145A-454D-A718-A0AA6E4D513D}" type="slidenum">
              <a:rPr lang="pt-BR" smtClean="0"/>
              <a:pPr/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91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34" indent="-342934" algn="l" defTabSz="914491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3024" indent="-285779" algn="l" defTabSz="914491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114" indent="-228623" algn="l" defTabSz="914491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360" indent="-228623" algn="l" defTabSz="914491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606" indent="-228623" algn="l" defTabSz="914491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851" indent="-228623" algn="l" defTabSz="91449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097" indent="-228623" algn="l" defTabSz="91449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343" indent="-228623" algn="l" defTabSz="91449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589" indent="-228623" algn="l" defTabSz="914491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4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91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737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983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229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474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720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966" algn="l" defTabSz="91449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gif"/><Relationship Id="rId3" Type="http://schemas.openxmlformats.org/officeDocument/2006/relationships/image" Target="../media/image2.jpeg"/><Relationship Id="rId7" Type="http://schemas.openxmlformats.org/officeDocument/2006/relationships/image" Target="../media/image20.gi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19.gif"/><Relationship Id="rId11" Type="http://schemas.openxmlformats.org/officeDocument/2006/relationships/image" Target="../media/image24.png"/><Relationship Id="rId5" Type="http://schemas.openxmlformats.org/officeDocument/2006/relationships/image" Target="../media/image18.jpeg"/><Relationship Id="rId10" Type="http://schemas.openxmlformats.org/officeDocument/2006/relationships/image" Target="../media/image23.png"/><Relationship Id="rId4" Type="http://schemas.openxmlformats.org/officeDocument/2006/relationships/image" Target="../media/image15.png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image" Target="../media/image1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capa_ok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444"/>
            <a:ext cx="13357225" cy="7511861"/>
          </a:xfrm>
          <a:prstGeom prst="rect">
            <a:avLst/>
          </a:prstGeom>
        </p:spPr>
      </p:pic>
      <p:sp>
        <p:nvSpPr>
          <p:cNvPr id="18" name="Text Box 2"/>
          <p:cNvSpPr txBox="1">
            <a:spLocks noChangeArrowheads="1"/>
          </p:cNvSpPr>
          <p:nvPr/>
        </p:nvSpPr>
        <p:spPr bwMode="auto">
          <a:xfrm>
            <a:off x="1278012" y="594023"/>
            <a:ext cx="9433048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5220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lnSpc>
                <a:spcPct val="97000"/>
              </a:lnSpc>
            </a:pPr>
            <a:r>
              <a:rPr lang="en-US" altLang="pt-BR" sz="2000" b="1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DENILSON RODRIGUES DE ARAUJO, Dr. </a:t>
            </a:r>
            <a:r>
              <a:rPr lang="en-US" altLang="pt-BR" sz="2000" b="1" dirty="0" err="1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Ing</a:t>
            </a:r>
            <a:r>
              <a:rPr lang="en-US" altLang="pt-BR" sz="2000" b="1" dirty="0" smtClean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., M.Sc.</a:t>
            </a:r>
          </a:p>
          <a:p>
            <a:pPr>
              <a:lnSpc>
                <a:spcPct val="97000"/>
              </a:lnSpc>
            </a:pPr>
            <a:r>
              <a:rPr lang="en-US" altLang="pt-BR" sz="2000" b="1" dirty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GENERAL </a:t>
            </a:r>
            <a:r>
              <a:rPr lang="en-US" altLang="pt-BR" sz="2000" b="1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MANAGEMENT - TECHNOLOGY AND ECO-EFFICIENCY</a:t>
            </a:r>
            <a:endParaRPr lang="en-US" altLang="pt-BR" sz="2000" b="1" dirty="0">
              <a:solidFill>
                <a:srgbClr val="00478E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Text Box 4"/>
          <p:cNvSpPr txBox="1">
            <a:spLocks noChangeArrowheads="1"/>
          </p:cNvSpPr>
          <p:nvPr/>
        </p:nvSpPr>
        <p:spPr bwMode="auto">
          <a:xfrm>
            <a:off x="1278012" y="2970287"/>
            <a:ext cx="11449272" cy="2232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6192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lnSpc>
                <a:spcPts val="4100"/>
              </a:lnSpc>
            </a:pPr>
            <a:r>
              <a:rPr lang="en-US" altLang="pt-BR" sz="4000" b="1" dirty="0" smtClean="0">
                <a:solidFill>
                  <a:srgbClr val="FFFFFF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NATURAL RESOURCES AND REWEABLE ENERGY</a:t>
            </a:r>
          </a:p>
          <a:p>
            <a:pPr>
              <a:lnSpc>
                <a:spcPts val="4100"/>
              </a:lnSpc>
            </a:pPr>
            <a:r>
              <a:rPr lang="en-US" altLang="pt-BR" sz="4000" b="1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OME SAMARCO’S EXPERIENCES AND CHALLENGES</a:t>
            </a:r>
            <a:endParaRPr lang="en-US" altLang="pt-BR" sz="4000" b="1" dirty="0" smtClean="0">
              <a:solidFill>
                <a:srgbClr val="00478E"/>
              </a:solidFill>
              <a:effectLst/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Oval 5"/>
          <p:cNvSpPr/>
          <p:nvPr/>
        </p:nvSpPr>
        <p:spPr>
          <a:xfrm>
            <a:off x="701948" y="666031"/>
            <a:ext cx="501316" cy="504056"/>
          </a:xfrm>
          <a:prstGeom prst="ellipse">
            <a:avLst/>
          </a:prstGeom>
          <a:solidFill>
            <a:srgbClr val="00488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3222228" y="6354663"/>
            <a:ext cx="6336704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5220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>
              <a:lnSpc>
                <a:spcPct val="97000"/>
              </a:lnSpc>
            </a:pPr>
            <a:r>
              <a:rPr lang="en-US" altLang="pt-BR" sz="2000" b="1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PORTO ALEGRE, 31 AUGUST 2015</a:t>
            </a:r>
            <a:endParaRPr lang="en-US" altLang="pt-BR" sz="2000" b="1" dirty="0">
              <a:solidFill>
                <a:srgbClr val="00478E"/>
              </a:solidFill>
              <a:effectLst/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9332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 descr="interna_ok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444"/>
            <a:ext cx="13357225" cy="7511861"/>
          </a:xfrm>
          <a:prstGeom prst="rect">
            <a:avLst/>
          </a:prstGeom>
        </p:spPr>
      </p:pic>
      <p:sp>
        <p:nvSpPr>
          <p:cNvPr id="13" name="Retângulo 12"/>
          <p:cNvSpPr/>
          <p:nvPr/>
        </p:nvSpPr>
        <p:spPr>
          <a:xfrm>
            <a:off x="1206004" y="1280805"/>
            <a:ext cx="11519276" cy="18876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n-US" sz="2000" b="1" spc="-150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echnological solution: </a:t>
            </a:r>
            <a:r>
              <a:rPr lang="en-US" sz="2000" b="1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Conversion of Biomass into Renewable Thermal Energy to Pelletizing Furnace</a:t>
            </a:r>
          </a:p>
          <a:p>
            <a:pPr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sz="2000" spc="-15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n-US" sz="2000" b="1" spc="-150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Where: </a:t>
            </a:r>
            <a:r>
              <a:rPr lang="en-US" sz="2000" spc="-15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pelletizing furnace replacing natural gas/heavy fuel oil and/or even ground </a:t>
            </a:r>
            <a:r>
              <a:rPr lang="en-US" sz="2000" spc="-150" dirty="0" err="1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ntracite</a:t>
            </a:r>
            <a:r>
              <a:rPr lang="en-US" sz="2000" spc="-15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/pet coke added into green pellets.</a:t>
            </a:r>
          </a:p>
          <a:p>
            <a:pPr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sz="2000" spc="-15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n-US" sz="2000" b="1" spc="-150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Benefits:</a:t>
            </a:r>
          </a:p>
          <a:p>
            <a:pPr marL="285750" indent="-285750"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-"/>
              <a:defRPr/>
            </a:pPr>
            <a:r>
              <a:rPr lang="en-US" sz="2000" spc="-15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enewable energy utilization (even less  GHG)</a:t>
            </a:r>
          </a:p>
          <a:p>
            <a:pPr marL="285750" indent="-285750"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-"/>
              <a:defRPr/>
            </a:pPr>
            <a:r>
              <a:rPr lang="en-US" sz="2000" spc="-150" dirty="0" smtClean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o provide a valuable destination any wood-based solid wastes;</a:t>
            </a:r>
          </a:p>
        </p:txBody>
      </p:sp>
      <p:sp>
        <p:nvSpPr>
          <p:cNvPr id="20" name="Retângulo 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98606" y="5703125"/>
            <a:ext cx="12076750" cy="480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794" tIns="50397" rIns="100794" bIns="50397"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2200" spc="-1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 </a:t>
            </a:r>
            <a:endParaRPr lang="en-US" sz="2200" spc="-15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pic>
        <p:nvPicPr>
          <p:cNvPr id="21" name="Imagem 20" descr="bullet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208008" y="2610247"/>
            <a:ext cx="218028" cy="218028"/>
          </a:xfrm>
          <a:prstGeom prst="rect">
            <a:avLst/>
          </a:prstGeom>
        </p:spPr>
      </p:pic>
      <p:pic>
        <p:nvPicPr>
          <p:cNvPr id="30" name="Imagem 2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31" t="23952" r="36840" b="30091"/>
          <a:stretch/>
        </p:blipFill>
        <p:spPr>
          <a:xfrm>
            <a:off x="2715217" y="5435179"/>
            <a:ext cx="2030375" cy="1629945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1" name="Imagem 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0580" y="4895265"/>
            <a:ext cx="2151134" cy="1612821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2" name="Imagem 3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876" y="4629647"/>
            <a:ext cx="1664614" cy="2190596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0020" y="4625213"/>
            <a:ext cx="2016224" cy="1513426"/>
          </a:xfrm>
          <a:prstGeom prst="rect">
            <a:avLst/>
          </a:prstGeom>
          <a:solidFill>
            <a:srgbClr val="FFFFFF">
              <a:shade val="85000"/>
            </a:srgbClr>
          </a:solidFill>
          <a:ln w="762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34" name="Imagem 33" descr="bullet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206004" y="2896275"/>
            <a:ext cx="218028" cy="218028"/>
          </a:xfrm>
          <a:prstGeom prst="rect">
            <a:avLst/>
          </a:prstGeom>
        </p:spPr>
      </p:pic>
      <p:sp>
        <p:nvSpPr>
          <p:cNvPr id="35" name="Retângulo 34"/>
          <p:cNvSpPr/>
          <p:nvPr/>
        </p:nvSpPr>
        <p:spPr>
          <a:xfrm>
            <a:off x="3222228" y="4554463"/>
            <a:ext cx="1604439" cy="5578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/>
                </a:solidFill>
                <a:latin typeface="Trebuchet MS" panose="020B0603020202020204" pitchFamily="34" charset="0"/>
              </a:rPr>
              <a:t>Eucalyptus</a:t>
            </a:r>
            <a:endParaRPr lang="en-US" sz="1600" b="1" dirty="0">
              <a:solidFill>
                <a:schemeClr val="tx2"/>
              </a:solidFill>
              <a:latin typeface="Trebuchet MS" panose="020B0603020202020204" pitchFamily="34" charset="0"/>
            </a:endParaRPr>
          </a:p>
        </p:txBody>
      </p:sp>
      <p:sp>
        <p:nvSpPr>
          <p:cNvPr id="36" name="Retângulo 35"/>
          <p:cNvSpPr/>
          <p:nvPr/>
        </p:nvSpPr>
        <p:spPr>
          <a:xfrm>
            <a:off x="4734396" y="6372892"/>
            <a:ext cx="1296144" cy="5578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/>
                </a:solidFill>
                <a:latin typeface="Trebuchet MS" panose="020B0603020202020204" pitchFamily="34" charset="0"/>
              </a:rPr>
              <a:t>Other sort of biomass</a:t>
            </a:r>
            <a:endParaRPr lang="en-US" sz="1600" b="1" dirty="0">
              <a:solidFill>
                <a:schemeClr val="tx2"/>
              </a:solidFill>
              <a:latin typeface="Trebuchet MS" panose="020B0603020202020204" pitchFamily="34" charset="0"/>
            </a:endParaRPr>
          </a:p>
        </p:txBody>
      </p:sp>
      <p:sp>
        <p:nvSpPr>
          <p:cNvPr id="37" name="Retângulo 36"/>
          <p:cNvSpPr/>
          <p:nvPr/>
        </p:nvSpPr>
        <p:spPr>
          <a:xfrm>
            <a:off x="6390580" y="6479441"/>
            <a:ext cx="2160240" cy="5578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/>
                </a:solidFill>
                <a:latin typeface="Trebuchet MS" panose="020B0603020202020204" pitchFamily="34" charset="0"/>
              </a:rPr>
              <a:t>Pre-processing</a:t>
            </a:r>
            <a:endParaRPr lang="en-US" sz="1600" b="1" dirty="0">
              <a:solidFill>
                <a:schemeClr val="tx2"/>
              </a:solidFill>
              <a:latin typeface="Trebuchet MS" panose="020B0603020202020204" pitchFamily="34" charset="0"/>
            </a:endParaRPr>
          </a:p>
        </p:txBody>
      </p:sp>
      <p:sp>
        <p:nvSpPr>
          <p:cNvPr id="38" name="Retângulo 37"/>
          <p:cNvSpPr/>
          <p:nvPr/>
        </p:nvSpPr>
        <p:spPr>
          <a:xfrm>
            <a:off x="8838852" y="6695465"/>
            <a:ext cx="3744417" cy="7393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2"/>
                </a:solidFill>
                <a:latin typeface="Trebuchet MS" panose="020B0603020202020204" pitchFamily="34" charset="0"/>
              </a:rPr>
              <a:t>Heat Generation (</a:t>
            </a:r>
            <a:r>
              <a:rPr lang="en-US" sz="1600" b="1" dirty="0" err="1" smtClean="0">
                <a:solidFill>
                  <a:schemeClr val="tx2"/>
                </a:solidFill>
                <a:latin typeface="Trebuchet MS" panose="020B0603020202020204" pitchFamily="34" charset="0"/>
              </a:rPr>
              <a:t>Biocombustion</a:t>
            </a:r>
            <a:r>
              <a:rPr lang="en-US" sz="1600" b="1" dirty="0" smtClean="0">
                <a:solidFill>
                  <a:schemeClr val="tx2"/>
                </a:solidFill>
                <a:latin typeface="Trebuchet MS" panose="020B0603020202020204" pitchFamily="34" charset="0"/>
              </a:rPr>
              <a:t>)</a:t>
            </a:r>
          </a:p>
        </p:txBody>
      </p:sp>
      <p:sp>
        <p:nvSpPr>
          <p:cNvPr id="40" name="Triângulo isósceles 39"/>
          <p:cNvSpPr/>
          <p:nvPr/>
        </p:nvSpPr>
        <p:spPr>
          <a:xfrm rot="5400000">
            <a:off x="6030540" y="5634583"/>
            <a:ext cx="216024" cy="216024"/>
          </a:xfrm>
          <a:prstGeom prst="triangle">
            <a:avLst/>
          </a:prstGeom>
          <a:solidFill>
            <a:srgbClr val="0047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41" name="Conector reto 40"/>
          <p:cNvCxnSpPr/>
          <p:nvPr/>
        </p:nvCxnSpPr>
        <p:spPr>
          <a:xfrm>
            <a:off x="4878412" y="5759361"/>
            <a:ext cx="1224136" cy="0"/>
          </a:xfrm>
          <a:prstGeom prst="line">
            <a:avLst/>
          </a:prstGeom>
          <a:ln w="19050">
            <a:solidFill>
              <a:srgbClr val="0047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riângulo isósceles 42"/>
          <p:cNvSpPr/>
          <p:nvPr/>
        </p:nvSpPr>
        <p:spPr>
          <a:xfrm rot="5400000">
            <a:off x="8694836" y="5687353"/>
            <a:ext cx="216024" cy="216024"/>
          </a:xfrm>
          <a:prstGeom prst="triangle">
            <a:avLst/>
          </a:prstGeom>
          <a:solidFill>
            <a:srgbClr val="0047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Triângulo isósceles 43"/>
          <p:cNvSpPr/>
          <p:nvPr/>
        </p:nvSpPr>
        <p:spPr>
          <a:xfrm rot="5400000">
            <a:off x="10927084" y="5709477"/>
            <a:ext cx="216024" cy="216024"/>
          </a:xfrm>
          <a:prstGeom prst="triangle">
            <a:avLst/>
          </a:prstGeom>
          <a:solidFill>
            <a:srgbClr val="0047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pic>
        <p:nvPicPr>
          <p:cNvPr id="45" name="Imagem 44" descr="box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11215116" y="5566157"/>
            <a:ext cx="1587338" cy="572482"/>
          </a:xfrm>
          <a:prstGeom prst="rect">
            <a:avLst/>
          </a:prstGeom>
        </p:spPr>
      </p:pic>
      <p:sp>
        <p:nvSpPr>
          <p:cNvPr id="39" name="Retângulo 38"/>
          <p:cNvSpPr/>
          <p:nvPr/>
        </p:nvSpPr>
        <p:spPr>
          <a:xfrm>
            <a:off x="11287124" y="5584641"/>
            <a:ext cx="144016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500" b="1" dirty="0" smtClean="0">
                <a:solidFill>
                  <a:schemeClr val="tx2"/>
                </a:solidFill>
              </a:rPr>
              <a:t>PELLETING </a:t>
            </a:r>
          </a:p>
          <a:p>
            <a:pPr algn="ctr"/>
            <a:r>
              <a:rPr lang="pt-BR" sz="1500" b="1" dirty="0" smtClean="0">
                <a:solidFill>
                  <a:schemeClr val="tx2"/>
                </a:solidFill>
              </a:rPr>
              <a:t>FURNACE(S)</a:t>
            </a:r>
            <a:endParaRPr lang="pt-BR" sz="1500" b="1" dirty="0">
              <a:solidFill>
                <a:schemeClr val="tx2"/>
              </a:solidFill>
            </a:endParaRPr>
          </a:p>
        </p:txBody>
      </p:sp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1206004" y="305991"/>
            <a:ext cx="6984776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5220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lnSpc>
                <a:spcPct val="97000"/>
              </a:lnSpc>
            </a:pPr>
            <a:r>
              <a:rPr lang="en-US" alt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EXAMPLE OF TECHNOLOGICAL STUDIES IN PROGRESS </a:t>
            </a:r>
          </a:p>
          <a:p>
            <a:pPr>
              <a:lnSpc>
                <a:spcPct val="97000"/>
              </a:lnSpc>
            </a:pPr>
            <a:r>
              <a:rPr lang="en-US" altLang="pt-BR" sz="2000" b="1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LTERNATIVE RENEWABLE ENERGY GENERATION AND USAGE</a:t>
            </a:r>
          </a:p>
        </p:txBody>
      </p:sp>
      <p:pic>
        <p:nvPicPr>
          <p:cNvPr id="48" name="Picture 2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82" t="15541" r="32200" b="10294"/>
          <a:stretch/>
        </p:blipFill>
        <p:spPr bwMode="auto">
          <a:xfrm>
            <a:off x="10477155" y="2322215"/>
            <a:ext cx="2106113" cy="2090235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" name="Picture 2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00" t="15409" r="31846" b="10894"/>
          <a:stretch/>
        </p:blipFill>
        <p:spPr bwMode="auto">
          <a:xfrm>
            <a:off x="8345738" y="2322215"/>
            <a:ext cx="2131417" cy="2090235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LTIMA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444"/>
            <a:ext cx="13357225" cy="7511861"/>
          </a:xfrm>
          <a:prstGeom prst="rect">
            <a:avLst/>
          </a:prstGeom>
        </p:spPr>
      </p:pic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350020" y="666031"/>
            <a:ext cx="10248203" cy="432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6192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lnSpc>
                <a:spcPts val="4100"/>
              </a:lnSpc>
            </a:pPr>
            <a:r>
              <a:rPr lang="en-US" altLang="pt-BR" sz="4400" b="1" dirty="0" smtClean="0">
                <a:solidFill>
                  <a:srgbClr val="FFFFFF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QUESTIONS?</a:t>
            </a:r>
            <a:endParaRPr lang="en-US" altLang="pt-BR" sz="4400" b="1" dirty="0" smtClean="0">
              <a:solidFill>
                <a:srgbClr val="00478E"/>
              </a:solidFill>
              <a:effectLst/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701948" y="666031"/>
            <a:ext cx="501316" cy="504056"/>
          </a:xfrm>
          <a:prstGeom prst="ellipse">
            <a:avLst/>
          </a:prstGeom>
          <a:solidFill>
            <a:srgbClr val="00488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 descr="interna_ok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10661" y="91258"/>
            <a:ext cx="13357225" cy="7511861"/>
          </a:xfrm>
          <a:prstGeom prst="rect">
            <a:avLst/>
          </a:prstGeom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125884" y="89967"/>
            <a:ext cx="6984776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5220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lnSpc>
                <a:spcPct val="97000"/>
              </a:lnSpc>
            </a:pPr>
            <a:endParaRPr lang="en-US" altLang="pt-BR" sz="20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5" name="Imagem 14" descr="pelotas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974756" y="2034183"/>
            <a:ext cx="3974689" cy="5184576"/>
          </a:xfrm>
          <a:prstGeom prst="rect">
            <a:avLst/>
          </a:prstGeom>
        </p:spPr>
      </p:pic>
      <p:sp>
        <p:nvSpPr>
          <p:cNvPr id="26" name="Text Box 2"/>
          <p:cNvSpPr txBox="1">
            <a:spLocks noChangeArrowheads="1"/>
          </p:cNvSpPr>
          <p:nvPr/>
        </p:nvSpPr>
        <p:spPr bwMode="auto">
          <a:xfrm>
            <a:off x="1206004" y="377999"/>
            <a:ext cx="6984776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5220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lnSpc>
                <a:spcPct val="97000"/>
              </a:lnSpc>
            </a:pPr>
            <a:r>
              <a:rPr lang="en-US" alt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WHO </a:t>
            </a:r>
            <a:r>
              <a:rPr lang="en-US" alt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WE</a:t>
            </a:r>
            <a:r>
              <a:rPr lang="en-US" altLang="pt-BR" sz="2000" b="1" dirty="0">
                <a:solidFill>
                  <a:srgbClr val="00478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alt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ARE</a:t>
            </a:r>
          </a:p>
          <a:p>
            <a:pPr>
              <a:lnSpc>
                <a:spcPct val="97000"/>
              </a:lnSpc>
            </a:pPr>
            <a:endParaRPr lang="en-US" altLang="pt-BR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CaixaDeTexto 5"/>
          <p:cNvSpPr txBox="1">
            <a:spLocks noChangeArrowheads="1"/>
          </p:cNvSpPr>
          <p:nvPr/>
        </p:nvSpPr>
        <p:spPr bwMode="auto">
          <a:xfrm>
            <a:off x="7902748" y="1038845"/>
            <a:ext cx="4060947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 eaLnBrk="1"/>
            <a:r>
              <a:rPr lang="en-US" altLang="pt-BR" sz="2000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AMARCO</a:t>
            </a:r>
          </a:p>
          <a:p>
            <a:pPr algn="ctr" eaLnBrk="1"/>
            <a:r>
              <a:rPr lang="en-US" altLang="pt-BR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ince 1977 producing and supplying iron ore pellets to seaborne market</a:t>
            </a: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658" t="13902" r="2667" b="8966"/>
          <a:stretch/>
        </p:blipFill>
        <p:spPr bwMode="auto">
          <a:xfrm>
            <a:off x="471050" y="1130259"/>
            <a:ext cx="6639610" cy="608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CaixaDeTexto 17"/>
          <p:cNvSpPr txBox="1"/>
          <p:nvPr/>
        </p:nvSpPr>
        <p:spPr>
          <a:xfrm>
            <a:off x="1061988" y="6354663"/>
            <a:ext cx="5544616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/>
              <a:t>Total Pellet </a:t>
            </a:r>
            <a:r>
              <a:rPr lang="pt-BR" dirty="0" err="1" smtClean="0"/>
              <a:t>Production</a:t>
            </a:r>
            <a:r>
              <a:rPr lang="pt-BR" dirty="0" smtClean="0"/>
              <a:t> = 501 </a:t>
            </a:r>
            <a:r>
              <a:rPr lang="pt-BR" dirty="0" err="1" smtClean="0"/>
              <a:t>million</a:t>
            </a:r>
            <a:r>
              <a:rPr lang="pt-BR" dirty="0" smtClean="0"/>
              <a:t> </a:t>
            </a:r>
            <a:r>
              <a:rPr lang="pt-BR" dirty="0" err="1" smtClean="0"/>
              <a:t>ton</a:t>
            </a:r>
            <a:r>
              <a:rPr lang="pt-BR" dirty="0" smtClean="0"/>
              <a:t> (E) </a:t>
            </a:r>
          </a:p>
          <a:p>
            <a:pPr algn="ctr"/>
            <a:r>
              <a:rPr lang="pt-BR" dirty="0" err="1" smtClean="0"/>
              <a:t>Seaborne</a:t>
            </a:r>
            <a:r>
              <a:rPr lang="pt-BR" dirty="0" smtClean="0"/>
              <a:t> Market = 114.8 </a:t>
            </a:r>
            <a:r>
              <a:rPr lang="pt-BR" dirty="0" err="1" smtClean="0"/>
              <a:t>million</a:t>
            </a:r>
            <a:r>
              <a:rPr lang="pt-BR" dirty="0" smtClean="0"/>
              <a:t> </a:t>
            </a:r>
            <a:r>
              <a:rPr lang="pt-BR" dirty="0" err="1" smtClean="0"/>
              <a:t>ton</a:t>
            </a:r>
            <a:r>
              <a:rPr lang="pt-BR" dirty="0" smtClean="0"/>
              <a:t> (2014) </a:t>
            </a:r>
            <a:r>
              <a:rPr lang="pt-BR" dirty="0" smtClean="0">
                <a:sym typeface="Wingdings"/>
              </a:rPr>
              <a:t> 22,8%</a:t>
            </a:r>
            <a:endParaRPr lang="pt-BR" dirty="0" smtClean="0"/>
          </a:p>
          <a:p>
            <a:pPr algn="ctr"/>
            <a:r>
              <a:rPr lang="pt-BR" dirty="0" smtClean="0"/>
              <a:t>Samarco Market </a:t>
            </a:r>
            <a:r>
              <a:rPr lang="pt-BR" dirty="0" err="1" smtClean="0"/>
              <a:t>Share</a:t>
            </a:r>
            <a:r>
              <a:rPr lang="pt-BR" dirty="0" smtClean="0"/>
              <a:t>  = 25 </a:t>
            </a:r>
            <a:r>
              <a:rPr lang="pt-BR" dirty="0" err="1" smtClean="0"/>
              <a:t>million</a:t>
            </a:r>
            <a:r>
              <a:rPr lang="pt-BR" dirty="0" smtClean="0"/>
              <a:t> (2014) </a:t>
            </a:r>
            <a:r>
              <a:rPr lang="pt-BR" dirty="0" smtClean="0">
                <a:sym typeface="Wingdings" panose="05000000000000000000" pitchFamily="2" charset="2"/>
              </a:rPr>
              <a:t> 21%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15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 descr="22_OK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444"/>
            <a:ext cx="13357225" cy="7511861"/>
          </a:xfrm>
          <a:prstGeom prst="rect">
            <a:avLst/>
          </a:prstGeom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1206004" y="377999"/>
            <a:ext cx="8640960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5220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lnSpc>
                <a:spcPct val="97000"/>
              </a:lnSpc>
            </a:pPr>
            <a:r>
              <a:rPr lang="en-US" alt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AMARCO AND IRON ORE PELLET MARKET</a:t>
            </a:r>
          </a:p>
          <a:p>
            <a:pPr>
              <a:lnSpc>
                <a:spcPct val="97000"/>
              </a:lnSpc>
            </a:pPr>
            <a:r>
              <a:rPr lang="en-US" altLang="pt-BR" sz="2000" b="1" cap="all" dirty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2nd largest iron ore pellet supplier in seaborne </a:t>
            </a:r>
            <a:r>
              <a:rPr lang="en-US" altLang="pt-BR" sz="2000" b="1" cap="all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market</a:t>
            </a:r>
            <a:endParaRPr lang="en-US" altLang="pt-BR" sz="2000" b="1" cap="all" dirty="0">
              <a:solidFill>
                <a:srgbClr val="00478E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CustomShape 1"/>
          <p:cNvSpPr/>
          <p:nvPr/>
        </p:nvSpPr>
        <p:spPr>
          <a:xfrm>
            <a:off x="2646164" y="954063"/>
            <a:ext cx="8208912" cy="720717"/>
          </a:xfrm>
          <a:prstGeom prst="rect">
            <a:avLst/>
          </a:prstGeom>
          <a:noFill/>
          <a:ln>
            <a:noFill/>
          </a:ln>
        </p:spPr>
        <p:txBody>
          <a:bodyPr lIns="90000" tIns="50400" rIns="90000" bIns="45000"/>
          <a:lstStyle/>
          <a:p>
            <a:pPr>
              <a:lnSpc>
                <a:spcPct val="150000"/>
              </a:lnSpc>
            </a:pPr>
            <a:endParaRPr lang="en-US" sz="1400" dirty="0">
              <a:solidFill>
                <a:srgbClr val="00478E"/>
              </a:solidFill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557932" y="1314103"/>
            <a:ext cx="12313368" cy="58323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dirty="0"/>
              <a:t>114.8 M </a:t>
            </a:r>
            <a:r>
              <a:rPr lang="pt-BR" dirty="0" err="1"/>
              <a:t>Ton</a:t>
            </a:r>
            <a:endParaRPr lang="en-US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4" r="3066"/>
          <a:stretch/>
        </p:blipFill>
        <p:spPr bwMode="auto">
          <a:xfrm>
            <a:off x="629941" y="1386429"/>
            <a:ext cx="6354184" cy="561630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" r="21347"/>
          <a:stretch/>
        </p:blipFill>
        <p:spPr bwMode="auto">
          <a:xfrm>
            <a:off x="7021433" y="1386110"/>
            <a:ext cx="5777859" cy="405314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66015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m 12" descr="12_OK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444"/>
            <a:ext cx="13357225" cy="7511861"/>
          </a:xfrm>
          <a:prstGeom prst="rect">
            <a:avLst/>
          </a:prstGeom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1206004" y="377999"/>
            <a:ext cx="8784976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5220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lnSpc>
                <a:spcPct val="97000"/>
              </a:lnSpc>
            </a:pPr>
            <a:r>
              <a:rPr lang="en-US" alt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INNOVATION</a:t>
            </a:r>
            <a:r>
              <a:rPr lang="en-US" alt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CHALLENGE IN SAMARCO</a:t>
            </a:r>
          </a:p>
          <a:p>
            <a:pPr>
              <a:lnSpc>
                <a:spcPct val="97000"/>
              </a:lnSpc>
            </a:pPr>
            <a:r>
              <a:rPr lang="en-US" altLang="pt-BR" sz="2000" b="1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O IMPLEMENT TECHNOLOGICAL SOLUTION FROM MINE TO PORT</a:t>
            </a:r>
            <a:endParaRPr lang="en-US" altLang="pt-BR" sz="2000" b="1" dirty="0">
              <a:solidFill>
                <a:srgbClr val="00478E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CustomShape 1"/>
          <p:cNvSpPr/>
          <p:nvPr/>
        </p:nvSpPr>
        <p:spPr>
          <a:xfrm>
            <a:off x="2646164" y="954063"/>
            <a:ext cx="8208912" cy="720717"/>
          </a:xfrm>
          <a:prstGeom prst="rect">
            <a:avLst/>
          </a:prstGeom>
          <a:noFill/>
          <a:ln>
            <a:noFill/>
          </a:ln>
        </p:spPr>
        <p:txBody>
          <a:bodyPr lIns="90000" tIns="50400" rIns="90000" bIns="45000"/>
          <a:lstStyle/>
          <a:p>
            <a:pPr>
              <a:lnSpc>
                <a:spcPct val="150000"/>
              </a:lnSpc>
            </a:pPr>
            <a:endParaRPr lang="en-US" sz="1400" dirty="0">
              <a:solidFill>
                <a:srgbClr val="00478E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1133996" y="5706591"/>
            <a:ext cx="13686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>
                <a:solidFill>
                  <a:srgbClr val="00478E"/>
                </a:solidFill>
              </a:rPr>
              <a:t>Mining</a:t>
            </a:r>
            <a:endParaRPr lang="pt-BR" sz="2000" b="1" dirty="0">
              <a:solidFill>
                <a:srgbClr val="00478E"/>
              </a:solidFill>
            </a:endParaRPr>
          </a:p>
        </p:txBody>
      </p:sp>
      <p:sp>
        <p:nvSpPr>
          <p:cNvPr id="6" name="CaixaDeTexto 5"/>
          <p:cNvSpPr txBox="1"/>
          <p:nvPr/>
        </p:nvSpPr>
        <p:spPr>
          <a:xfrm>
            <a:off x="3294236" y="5706591"/>
            <a:ext cx="20162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err="1" smtClean="0">
                <a:solidFill>
                  <a:srgbClr val="00478E"/>
                </a:solidFill>
              </a:rPr>
              <a:t>Concentration</a:t>
            </a:r>
            <a:endParaRPr lang="pt-BR" sz="2000" b="1" dirty="0">
              <a:solidFill>
                <a:srgbClr val="00478E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5670500" y="5778599"/>
            <a:ext cx="1872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>
                <a:solidFill>
                  <a:srgbClr val="00478E"/>
                </a:solidFill>
              </a:rPr>
              <a:t>Pipeline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8118772" y="5778599"/>
            <a:ext cx="1872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err="1" smtClean="0">
                <a:solidFill>
                  <a:srgbClr val="00478E"/>
                </a:solidFill>
              </a:rPr>
              <a:t>Pelletizing</a:t>
            </a:r>
            <a:endParaRPr lang="pt-BR" sz="2000" b="1" dirty="0" smtClean="0">
              <a:solidFill>
                <a:srgbClr val="00478E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10423028" y="5778599"/>
            <a:ext cx="18722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err="1" smtClean="0">
                <a:solidFill>
                  <a:srgbClr val="00478E"/>
                </a:solidFill>
              </a:rPr>
              <a:t>Port</a:t>
            </a:r>
            <a:endParaRPr lang="pt-BR" sz="2000" b="1" dirty="0" smtClean="0">
              <a:solidFill>
                <a:srgbClr val="00478E"/>
              </a:solidFill>
            </a:endParaRPr>
          </a:p>
        </p:txBody>
      </p:sp>
      <p:sp>
        <p:nvSpPr>
          <p:cNvPr id="12" name="CaixaDeTexto 5"/>
          <p:cNvSpPr txBox="1">
            <a:spLocks noChangeArrowheads="1"/>
          </p:cNvSpPr>
          <p:nvPr/>
        </p:nvSpPr>
        <p:spPr bwMode="auto">
          <a:xfrm>
            <a:off x="845964" y="6282655"/>
            <a:ext cx="2016224" cy="707886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lvl1pPr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ctr" eaLnBrk="1"/>
            <a:r>
              <a:rPr lang="en-US" altLang="pt-BR" sz="2000" b="1" dirty="0" smtClean="0">
                <a:latin typeface="+mj-lt"/>
              </a:rPr>
              <a:t>Poor Iron Ore (45%Fe)</a:t>
            </a:r>
            <a:endParaRPr lang="en-US" altLang="pt-BR" sz="2000" b="1" dirty="0">
              <a:latin typeface="+mj-lt"/>
            </a:endParaRPr>
          </a:p>
        </p:txBody>
      </p:sp>
      <p:sp>
        <p:nvSpPr>
          <p:cNvPr id="14" name="CaixaDeTexto 5"/>
          <p:cNvSpPr txBox="1">
            <a:spLocks noChangeArrowheads="1"/>
          </p:cNvSpPr>
          <p:nvPr/>
        </p:nvSpPr>
        <p:spPr bwMode="auto">
          <a:xfrm>
            <a:off x="845964" y="1090528"/>
            <a:ext cx="10513168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just" eaLnBrk="1"/>
            <a:r>
              <a:rPr lang="en-US" altLang="pt-BR" sz="2000" dirty="0" smtClean="0">
                <a:solidFill>
                  <a:schemeClr val="tx1"/>
                </a:solidFill>
                <a:latin typeface="+mj-lt"/>
              </a:rPr>
              <a:t>A company where </a:t>
            </a:r>
            <a:r>
              <a:rPr lang="en-US" altLang="pt-BR" sz="2000" b="1" dirty="0" smtClean="0">
                <a:solidFill>
                  <a:schemeClr val="tx1"/>
                </a:solidFill>
                <a:latin typeface="+mj-lt"/>
              </a:rPr>
              <a:t>technology is applied intensively</a:t>
            </a:r>
            <a:r>
              <a:rPr lang="en-US" altLang="pt-BR" sz="2000" dirty="0" smtClean="0">
                <a:solidFill>
                  <a:schemeClr val="tx1"/>
                </a:solidFill>
                <a:latin typeface="+mj-lt"/>
              </a:rPr>
              <a:t> to optimize the use of natural resources and generating economic and social development, with respect for the environment.</a:t>
            </a:r>
          </a:p>
          <a:p>
            <a:pPr algn="just" eaLnBrk="1"/>
            <a:endParaRPr lang="en-US" altLang="pt-BR" sz="20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CaixaDeTexto 5"/>
          <p:cNvSpPr txBox="1">
            <a:spLocks noChangeArrowheads="1"/>
          </p:cNvSpPr>
          <p:nvPr/>
        </p:nvSpPr>
        <p:spPr bwMode="auto">
          <a:xfrm>
            <a:off x="9270900" y="6282655"/>
            <a:ext cx="2016224" cy="707886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r>
              <a:rPr lang="en-US" altLang="pt-BR" dirty="0"/>
              <a:t>Iron Ore Pellets</a:t>
            </a:r>
          </a:p>
          <a:p>
            <a:r>
              <a:rPr lang="en-US" altLang="pt-BR" dirty="0"/>
              <a:t>(66 – 68%%Fe)</a:t>
            </a:r>
          </a:p>
        </p:txBody>
      </p:sp>
      <p:sp>
        <p:nvSpPr>
          <p:cNvPr id="16" name="CaixaDeTexto 5"/>
          <p:cNvSpPr txBox="1">
            <a:spLocks noChangeArrowheads="1"/>
          </p:cNvSpPr>
          <p:nvPr/>
        </p:nvSpPr>
        <p:spPr bwMode="auto">
          <a:xfrm>
            <a:off x="3294236" y="6131088"/>
            <a:ext cx="2016224" cy="1015663"/>
          </a:xfrm>
          <a:prstGeom prst="rect">
            <a:avLst/>
          </a:prstGeom>
          <a:solidFill>
            <a:schemeClr val="tx2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defPPr>
              <a:defRPr lang="pt-BR"/>
            </a:defPPr>
            <a:lvl1pPr algn="ctr">
              <a:defRPr sz="2000" b="1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r>
              <a:rPr lang="en-US" altLang="pt-BR" dirty="0"/>
              <a:t>Iron Ore Concentrate</a:t>
            </a:r>
          </a:p>
          <a:p>
            <a:r>
              <a:rPr lang="en-US" altLang="pt-BR" dirty="0"/>
              <a:t>(67 – 68%%Fe)</a:t>
            </a:r>
          </a:p>
        </p:txBody>
      </p:sp>
      <p:cxnSp>
        <p:nvCxnSpPr>
          <p:cNvPr id="3" name="Conector de seta reta 2"/>
          <p:cNvCxnSpPr>
            <a:endCxn id="16" idx="1"/>
          </p:cNvCxnSpPr>
          <p:nvPr/>
        </p:nvCxnSpPr>
        <p:spPr>
          <a:xfrm>
            <a:off x="2862188" y="6636598"/>
            <a:ext cx="432048" cy="2322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de seta reta 16"/>
          <p:cNvCxnSpPr>
            <a:stCxn id="16" idx="3"/>
            <a:endCxn id="15" idx="1"/>
          </p:cNvCxnSpPr>
          <p:nvPr/>
        </p:nvCxnSpPr>
        <p:spPr>
          <a:xfrm flipV="1">
            <a:off x="5310460" y="6636598"/>
            <a:ext cx="3960440" cy="2322"/>
          </a:xfrm>
          <a:prstGeom prst="straightConnector1">
            <a:avLst/>
          </a:prstGeom>
          <a:ln w="3810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 descr="interna_ok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3357225" cy="7511861"/>
          </a:xfrm>
          <a:prstGeom prst="rect">
            <a:avLst/>
          </a:prstGeom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125884" y="89967"/>
            <a:ext cx="6984776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5220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lnSpc>
                <a:spcPct val="97000"/>
              </a:lnSpc>
            </a:pPr>
            <a:endParaRPr lang="en-US" altLang="pt-BR" sz="20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888"/>
          <a:stretch/>
        </p:blipFill>
        <p:spPr bwMode="auto">
          <a:xfrm>
            <a:off x="5301332" y="2057847"/>
            <a:ext cx="7641976" cy="4512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CaixaDeTexto 5"/>
          <p:cNvSpPr txBox="1">
            <a:spLocks noChangeArrowheads="1"/>
          </p:cNvSpPr>
          <p:nvPr/>
        </p:nvSpPr>
        <p:spPr bwMode="auto">
          <a:xfrm>
            <a:off x="629940" y="2106191"/>
            <a:ext cx="4680520" cy="424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 marL="11430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 marL="16002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 marL="2057400" indent="-228600" eaLnBrk="0"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561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 algn="just" defTabSz="455613" eaLnBrk="1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n-US" altLang="pt-BR" sz="2000" dirty="0" smtClean="0">
                <a:solidFill>
                  <a:schemeClr val="tx1"/>
                </a:solidFill>
                <a:latin typeface="+mj-lt"/>
              </a:rPr>
              <a:t>A company currently running at </a:t>
            </a:r>
            <a:r>
              <a:rPr lang="en-US" altLang="pt-BR" sz="2000" b="1" dirty="0" smtClean="0">
                <a:solidFill>
                  <a:schemeClr val="tx1"/>
                </a:solidFill>
                <a:latin typeface="+mj-lt"/>
              </a:rPr>
              <a:t>one of the lowest operating costs </a:t>
            </a:r>
            <a:r>
              <a:rPr lang="en-US" altLang="pt-BR" sz="2000" dirty="0" smtClean="0">
                <a:solidFill>
                  <a:schemeClr val="tx1"/>
                </a:solidFill>
                <a:latin typeface="+mj-lt"/>
              </a:rPr>
              <a:t>when compared to other iron ore producers due to:</a:t>
            </a:r>
          </a:p>
          <a:p>
            <a:pPr marL="180000" indent="-180000" algn="just" defTabSz="455613" eaLnBrk="1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-"/>
              <a:defRPr/>
            </a:pPr>
            <a:r>
              <a:rPr lang="en-US" altLang="pt-BR" sz="2000" dirty="0">
                <a:solidFill>
                  <a:schemeClr val="tx1"/>
                </a:solidFill>
                <a:latin typeface="+mj-lt"/>
              </a:rPr>
              <a:t>optimized mining operations (open pit);</a:t>
            </a:r>
          </a:p>
          <a:p>
            <a:pPr marL="180000" indent="-180000" algn="just" defTabSz="455613" eaLnBrk="1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-"/>
              <a:defRPr/>
            </a:pPr>
            <a:r>
              <a:rPr lang="en-US" altLang="pt-BR" sz="2000" dirty="0">
                <a:solidFill>
                  <a:schemeClr val="tx1"/>
                </a:solidFill>
                <a:latin typeface="+mj-lt"/>
              </a:rPr>
              <a:t>logistics advantages: pipelines system and own port </a:t>
            </a:r>
            <a:r>
              <a:rPr lang="en-US" altLang="pt-BR" sz="2000" dirty="0" smtClean="0">
                <a:solidFill>
                  <a:schemeClr val="tx1"/>
                </a:solidFill>
                <a:latin typeface="+mj-lt"/>
              </a:rPr>
              <a:t>terminal.</a:t>
            </a:r>
            <a:endParaRPr lang="en-US" altLang="pt-BR" sz="2000" dirty="0">
              <a:solidFill>
                <a:schemeClr val="tx1"/>
              </a:solidFill>
              <a:latin typeface="+mj-lt"/>
            </a:endParaRPr>
          </a:p>
          <a:p>
            <a:pPr marL="180000" indent="-180000" algn="just" defTabSz="455613" eaLnBrk="1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-"/>
              <a:defRPr/>
            </a:pPr>
            <a:r>
              <a:rPr lang="en-US" altLang="pt-BR" sz="2000" dirty="0" smtClean="0">
                <a:solidFill>
                  <a:schemeClr val="tx1"/>
                </a:solidFill>
                <a:latin typeface="+mj-lt"/>
              </a:rPr>
              <a:t>management highly focused on operating efficient;</a:t>
            </a:r>
          </a:p>
          <a:p>
            <a:pPr marL="180000" indent="-180000" algn="just" defTabSz="455613" eaLnBrk="1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-"/>
              <a:defRPr/>
            </a:pPr>
            <a:r>
              <a:rPr lang="en-US" altLang="pt-BR" sz="2000" dirty="0" smtClean="0">
                <a:solidFill>
                  <a:schemeClr val="tx1"/>
                </a:solidFill>
                <a:latin typeface="+mj-lt"/>
              </a:rPr>
              <a:t>technological innovative efforts.</a:t>
            </a:r>
          </a:p>
        </p:txBody>
      </p:sp>
      <p:sp>
        <p:nvSpPr>
          <p:cNvPr id="32" name="Text Box 2"/>
          <p:cNvSpPr txBox="1">
            <a:spLocks noChangeArrowheads="1"/>
          </p:cNvSpPr>
          <p:nvPr/>
        </p:nvSpPr>
        <p:spPr bwMode="auto">
          <a:xfrm>
            <a:off x="1206004" y="377999"/>
            <a:ext cx="8640960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5220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lnSpc>
                <a:spcPct val="97000"/>
              </a:lnSpc>
            </a:pPr>
            <a:r>
              <a:rPr lang="en-US" alt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AMARCO COMPETITIVENESS</a:t>
            </a:r>
          </a:p>
          <a:p>
            <a:pPr>
              <a:lnSpc>
                <a:spcPct val="97000"/>
              </a:lnSpc>
            </a:pPr>
            <a:r>
              <a:rPr lang="en-US" altLang="pt-BR" sz="2000" b="1" cap="all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ne </a:t>
            </a:r>
            <a:r>
              <a:rPr lang="en-US" altLang="pt-BR" sz="2000" b="1" cap="all" dirty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f the lowest operating </a:t>
            </a:r>
            <a:r>
              <a:rPr lang="en-US" altLang="pt-BR" sz="2000" b="1" cap="all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costs COMPARED TO IRON ORE PRODUCERS</a:t>
            </a:r>
          </a:p>
        </p:txBody>
      </p:sp>
    </p:spTree>
    <p:extLst>
      <p:ext uri="{BB962C8B-B14F-4D97-AF65-F5344CB8AC3E}">
        <p14:creationId xmlns:p14="http://schemas.microsoft.com/office/powerpoint/2010/main" val="2467303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m 13" descr="10_OK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444"/>
            <a:ext cx="13357225" cy="7511861"/>
          </a:xfrm>
          <a:prstGeom prst="rect">
            <a:avLst/>
          </a:prstGeom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1206004" y="377999"/>
            <a:ext cx="6984776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5220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lnSpc>
                <a:spcPct val="97000"/>
              </a:lnSpc>
            </a:pPr>
            <a:r>
              <a:rPr lang="en-US" alt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AMARCO SUSTAINABILITY MODEL:</a:t>
            </a:r>
          </a:p>
          <a:p>
            <a:pPr>
              <a:lnSpc>
                <a:spcPct val="97000"/>
              </a:lnSpc>
            </a:pPr>
            <a:r>
              <a:rPr lang="en-US" altLang="pt-BR" sz="2000" b="1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INNOVATION &amp; TECHNOLOGY– AN IMPORTANT PILAR</a:t>
            </a:r>
            <a:endParaRPr lang="en-US" altLang="pt-BR" sz="2000" b="1" dirty="0">
              <a:solidFill>
                <a:srgbClr val="00478E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6" name="Conector de seta reta 15"/>
          <p:cNvCxnSpPr/>
          <p:nvPr/>
        </p:nvCxnSpPr>
        <p:spPr>
          <a:xfrm>
            <a:off x="7110660" y="4266431"/>
            <a:ext cx="720080" cy="0"/>
          </a:xfrm>
          <a:prstGeom prst="straightConnector1">
            <a:avLst/>
          </a:prstGeom>
          <a:ln w="41275">
            <a:solidFill>
              <a:srgbClr val="00478E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36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1" t="15120" r="32082" b="8890"/>
          <a:stretch/>
        </p:blipFill>
        <p:spPr bwMode="auto">
          <a:xfrm>
            <a:off x="7758732" y="1742186"/>
            <a:ext cx="5044524" cy="5044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m 16" descr="04_ok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35" y="436"/>
            <a:ext cx="13356355" cy="7523879"/>
          </a:xfrm>
          <a:prstGeom prst="rect">
            <a:avLst/>
          </a:prstGeom>
        </p:spPr>
      </p:pic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5179800" y="325891"/>
            <a:ext cx="3875604" cy="2830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55110" tIns="27557" rIns="55110" bIns="27557"/>
          <a:lstStyle/>
          <a:p>
            <a:pPr marL="48717" defTabSz="551548"/>
            <a:endParaRPr lang="pt-BR" altLang="pt-BR" sz="2200" b="1" dirty="0">
              <a:solidFill>
                <a:srgbClr val="00488F"/>
              </a:solidFill>
              <a:latin typeface="Trebuchet MS" pitchFamily="34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1551095" y="1495595"/>
            <a:ext cx="7506469" cy="758485"/>
          </a:xfrm>
          <a:prstGeom prst="rect">
            <a:avLst/>
          </a:prstGeom>
        </p:spPr>
        <p:txBody>
          <a:bodyPr wrap="square" lIns="50109" tIns="25055" rIns="50109" bIns="25055">
            <a:spAutoFit/>
          </a:bodyPr>
          <a:lstStyle/>
          <a:p>
            <a:pPr algn="ctr">
              <a:defRPr sz="2000" b="1" i="0" u="none" strike="noStrike" kern="120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pt-BR" sz="2400" dirty="0">
                <a:solidFill>
                  <a:srgbClr val="00478E"/>
                </a:solidFill>
                <a:latin typeface="+mj-lt"/>
                <a:cs typeface="Arial" panose="020B0604020202020204" pitchFamily="34" charset="0"/>
              </a:rPr>
              <a:t>WATER SPECIFIC CONSUMPTION (m</a:t>
            </a:r>
            <a:r>
              <a:rPr lang="pt-BR" sz="2400" baseline="30000" dirty="0">
                <a:solidFill>
                  <a:srgbClr val="00478E"/>
                </a:solidFill>
                <a:latin typeface="+mj-lt"/>
                <a:cs typeface="Arial" panose="020B0604020202020204" pitchFamily="34" charset="0"/>
              </a:rPr>
              <a:t>3</a:t>
            </a:r>
            <a:r>
              <a:rPr lang="pt-BR" sz="2400" dirty="0">
                <a:solidFill>
                  <a:srgbClr val="00478E"/>
                </a:solidFill>
                <a:latin typeface="+mj-lt"/>
                <a:cs typeface="Arial" panose="020B0604020202020204" pitchFamily="34" charset="0"/>
              </a:rPr>
              <a:t>/</a:t>
            </a:r>
            <a:r>
              <a:rPr lang="pt-BR" sz="2400" dirty="0" err="1">
                <a:solidFill>
                  <a:srgbClr val="00478E"/>
                </a:solidFill>
                <a:latin typeface="+mj-lt"/>
                <a:cs typeface="Arial" panose="020B0604020202020204" pitchFamily="34" charset="0"/>
              </a:rPr>
              <a:t>ton</a:t>
            </a:r>
            <a:r>
              <a:rPr lang="pt-BR" sz="2400" dirty="0">
                <a:solidFill>
                  <a:srgbClr val="00478E"/>
                </a:solidFill>
                <a:latin typeface="+mj-lt"/>
                <a:cs typeface="Arial" panose="020B0604020202020204" pitchFamily="34" charset="0"/>
              </a:rPr>
              <a:t> IRON ORE)</a:t>
            </a:r>
          </a:p>
          <a:p>
            <a:pPr algn="ctr">
              <a:defRPr sz="2000" b="1" i="0" u="none" strike="noStrike" kern="1200" baseline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pt-BR" sz="2200" dirty="0">
                <a:solidFill>
                  <a:srgbClr val="77B4D0"/>
                </a:solidFill>
                <a:latin typeface="+mj-lt"/>
                <a:cs typeface="Arial" panose="020B0604020202020204" pitchFamily="34" charset="0"/>
              </a:rPr>
              <a:t>TOP 5 IRON ORE PRODUCER COUNTRIES</a:t>
            </a:r>
          </a:p>
        </p:txBody>
      </p:sp>
      <p:sp>
        <p:nvSpPr>
          <p:cNvPr id="14" name="Retângulo 13"/>
          <p:cNvSpPr/>
          <p:nvPr/>
        </p:nvSpPr>
        <p:spPr>
          <a:xfrm>
            <a:off x="10189191" y="6552026"/>
            <a:ext cx="2538093" cy="450709"/>
          </a:xfrm>
          <a:prstGeom prst="rect">
            <a:avLst/>
          </a:prstGeom>
        </p:spPr>
        <p:txBody>
          <a:bodyPr wrap="square" lIns="50109" tIns="25055" rIns="50109" bIns="25055">
            <a:spAutoFit/>
          </a:bodyPr>
          <a:lstStyle/>
          <a:p>
            <a:pPr algn="just"/>
            <a:r>
              <a:rPr lang="pt-BR" sz="1300" b="1" u="sng" dirty="0">
                <a:latin typeface="+mj-lt"/>
              </a:rPr>
              <a:t>Source</a:t>
            </a:r>
            <a:r>
              <a:rPr lang="pt-BR" sz="1300" b="1" dirty="0">
                <a:latin typeface="+mj-lt"/>
              </a:rPr>
              <a:t>: </a:t>
            </a:r>
            <a:r>
              <a:rPr lang="pt-BR" sz="1300" dirty="0" err="1">
                <a:latin typeface="+mj-lt"/>
              </a:rPr>
              <a:t>Adapted</a:t>
            </a:r>
            <a:r>
              <a:rPr lang="pt-BR" sz="1300" dirty="0">
                <a:latin typeface="+mj-lt"/>
              </a:rPr>
              <a:t> </a:t>
            </a:r>
            <a:r>
              <a:rPr lang="pt-BR" sz="1300" dirty="0" err="1">
                <a:latin typeface="+mj-lt"/>
              </a:rPr>
              <a:t>from</a:t>
            </a:r>
            <a:r>
              <a:rPr lang="pt-BR" sz="1300" dirty="0">
                <a:latin typeface="+mj-lt"/>
              </a:rPr>
              <a:t> </a:t>
            </a:r>
            <a:r>
              <a:rPr lang="pt-BR" sz="1300" dirty="0" err="1">
                <a:latin typeface="+mj-lt"/>
              </a:rPr>
              <a:t>Bluefield</a:t>
            </a:r>
            <a:r>
              <a:rPr lang="pt-BR" sz="1300" dirty="0">
                <a:latin typeface="+mj-lt"/>
              </a:rPr>
              <a:t> Research, CRU </a:t>
            </a:r>
            <a:r>
              <a:rPr lang="pt-BR" sz="1300" dirty="0" err="1">
                <a:latin typeface="+mj-lt"/>
              </a:rPr>
              <a:t>and</a:t>
            </a:r>
            <a:r>
              <a:rPr lang="pt-BR" sz="1300" dirty="0">
                <a:latin typeface="+mj-lt"/>
              </a:rPr>
              <a:t> Samarco</a:t>
            </a:r>
          </a:p>
        </p:txBody>
      </p:sp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1196114" y="404891"/>
            <a:ext cx="9268973" cy="6714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55110" tIns="27557" rIns="55110" bIns="27557"/>
          <a:lstStyle/>
          <a:p>
            <a:pPr marL="48717" defTabSz="551548">
              <a:lnSpc>
                <a:spcPts val="2247"/>
              </a:lnSpc>
            </a:pPr>
            <a:r>
              <a:rPr lang="en-US" altLang="pt-BR" sz="2400" b="1" dirty="0">
                <a:solidFill>
                  <a:schemeClr val="bg1"/>
                </a:solidFill>
                <a:latin typeface="+mj-lt"/>
              </a:rPr>
              <a:t>WATER RESOURCES AND MINING SECTOR</a:t>
            </a:r>
          </a:p>
          <a:p>
            <a:pPr marL="48717" defTabSz="551548">
              <a:lnSpc>
                <a:spcPts val="2247"/>
              </a:lnSpc>
            </a:pPr>
            <a:r>
              <a:rPr lang="en-US" altLang="pt-BR" sz="2200" b="1" dirty="0">
                <a:solidFill>
                  <a:srgbClr val="00478E"/>
                </a:solidFill>
                <a:latin typeface="+mj-lt"/>
              </a:rPr>
              <a:t>WATER SPECIFIC CONSUMPTION BY IRON ORE PRODUCER COUNTRY</a:t>
            </a:r>
            <a:endParaRPr lang="pt-BR" altLang="pt-BR" sz="2200" b="1" dirty="0">
              <a:solidFill>
                <a:srgbClr val="00478E"/>
              </a:solidFill>
              <a:latin typeface="+mj-lt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1782068" y="2528212"/>
            <a:ext cx="354982" cy="236999"/>
          </a:xfrm>
          <a:prstGeom prst="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109" tIns="25055" rIns="50109" bIns="25055" rtlCol="0" anchor="ctr"/>
          <a:lstStyle/>
          <a:p>
            <a:pPr algn="ctr"/>
            <a:endParaRPr lang="pt-BR"/>
          </a:p>
        </p:txBody>
      </p:sp>
      <p:sp>
        <p:nvSpPr>
          <p:cNvPr id="11" name="Retângulo 10"/>
          <p:cNvSpPr/>
          <p:nvPr/>
        </p:nvSpPr>
        <p:spPr>
          <a:xfrm>
            <a:off x="1782068" y="2899158"/>
            <a:ext cx="354982" cy="23699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109" tIns="25055" rIns="50109" bIns="25055" rtlCol="0" anchor="ctr"/>
          <a:lstStyle/>
          <a:p>
            <a:pPr algn="ctr"/>
            <a:endParaRPr lang="pt-BR"/>
          </a:p>
        </p:txBody>
      </p:sp>
      <p:sp>
        <p:nvSpPr>
          <p:cNvPr id="12" name="Retângulo 11"/>
          <p:cNvSpPr/>
          <p:nvPr/>
        </p:nvSpPr>
        <p:spPr>
          <a:xfrm>
            <a:off x="2215934" y="2518544"/>
            <a:ext cx="2129892" cy="296821"/>
          </a:xfrm>
          <a:prstGeom prst="rect">
            <a:avLst/>
          </a:prstGeom>
        </p:spPr>
        <p:txBody>
          <a:bodyPr wrap="square" lIns="50109" tIns="25055" rIns="50109" bIns="25055">
            <a:spAutoFit/>
          </a:bodyPr>
          <a:lstStyle/>
          <a:p>
            <a:r>
              <a:rPr lang="pt-BR" sz="1600" b="1" dirty="0">
                <a:latin typeface="+mj-lt"/>
              </a:rPr>
              <a:t>&gt; 100 </a:t>
            </a:r>
            <a:r>
              <a:rPr lang="pt-BR" sz="1600" b="1" dirty="0" err="1">
                <a:latin typeface="+mj-lt"/>
              </a:rPr>
              <a:t>million</a:t>
            </a:r>
            <a:r>
              <a:rPr lang="pt-BR" sz="1600" b="1" dirty="0">
                <a:latin typeface="+mj-lt"/>
              </a:rPr>
              <a:t> tons/</a:t>
            </a:r>
            <a:r>
              <a:rPr lang="pt-BR" sz="1600" b="1" dirty="0" err="1">
                <a:latin typeface="+mj-lt"/>
              </a:rPr>
              <a:t>year</a:t>
            </a:r>
            <a:endParaRPr lang="pt-BR" sz="1600" dirty="0">
              <a:latin typeface="+mj-lt"/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2215934" y="2889490"/>
            <a:ext cx="2129892" cy="296821"/>
          </a:xfrm>
          <a:prstGeom prst="rect">
            <a:avLst/>
          </a:prstGeom>
        </p:spPr>
        <p:txBody>
          <a:bodyPr wrap="square" lIns="50109" tIns="25055" rIns="50109" bIns="25055">
            <a:spAutoFit/>
          </a:bodyPr>
          <a:lstStyle/>
          <a:p>
            <a:r>
              <a:rPr lang="pt-BR" sz="1600" b="1" dirty="0">
                <a:latin typeface="+mj-lt"/>
              </a:rPr>
              <a:t>&lt; 100 </a:t>
            </a:r>
            <a:r>
              <a:rPr lang="pt-BR" sz="1600" b="1" dirty="0" err="1">
                <a:latin typeface="+mj-lt"/>
              </a:rPr>
              <a:t>million</a:t>
            </a:r>
            <a:r>
              <a:rPr lang="pt-BR" sz="1600" b="1" dirty="0">
                <a:latin typeface="+mj-lt"/>
              </a:rPr>
              <a:t> tons/</a:t>
            </a:r>
            <a:r>
              <a:rPr lang="pt-BR" sz="1600" b="1" dirty="0" err="1">
                <a:latin typeface="+mj-lt"/>
              </a:rPr>
              <a:t>year</a:t>
            </a:r>
            <a:endParaRPr lang="pt-BR" sz="1600" dirty="0">
              <a:latin typeface="+mj-lt"/>
            </a:endParaRPr>
          </a:p>
        </p:txBody>
      </p:sp>
      <p:sp>
        <p:nvSpPr>
          <p:cNvPr id="18" name="Estrela de 5 pontas 17"/>
          <p:cNvSpPr/>
          <p:nvPr/>
        </p:nvSpPr>
        <p:spPr>
          <a:xfrm>
            <a:off x="1807733" y="3212342"/>
            <a:ext cx="329317" cy="369295"/>
          </a:xfrm>
          <a:prstGeom prst="star5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0109" tIns="25055" rIns="50109" bIns="25055" rtlCol="0" anchor="ctr"/>
          <a:lstStyle/>
          <a:p>
            <a:pPr algn="ctr"/>
            <a:endParaRPr lang="pt-BR"/>
          </a:p>
        </p:txBody>
      </p:sp>
      <p:sp>
        <p:nvSpPr>
          <p:cNvPr id="19" name="Retângulo 18"/>
          <p:cNvSpPr/>
          <p:nvPr/>
        </p:nvSpPr>
        <p:spPr>
          <a:xfrm>
            <a:off x="2255377" y="3291341"/>
            <a:ext cx="2445431" cy="543042"/>
          </a:xfrm>
          <a:prstGeom prst="rect">
            <a:avLst/>
          </a:prstGeom>
        </p:spPr>
        <p:txBody>
          <a:bodyPr wrap="square" lIns="50109" tIns="25055" rIns="50109" bIns="25055">
            <a:spAutoFit/>
          </a:bodyPr>
          <a:lstStyle/>
          <a:p>
            <a:r>
              <a:rPr lang="pt-BR" sz="1600" b="1" dirty="0">
                <a:latin typeface="+mj-lt"/>
              </a:rPr>
              <a:t>SAMARCO </a:t>
            </a:r>
          </a:p>
          <a:p>
            <a:r>
              <a:rPr lang="pt-BR" sz="1600" b="1" dirty="0">
                <a:latin typeface="+mj-lt"/>
              </a:rPr>
              <a:t>(</a:t>
            </a:r>
            <a:r>
              <a:rPr lang="pt-BR" sz="1600" b="1" dirty="0" err="1">
                <a:latin typeface="+mj-lt"/>
              </a:rPr>
              <a:t>with</a:t>
            </a:r>
            <a:r>
              <a:rPr lang="pt-BR" sz="1600" b="1" dirty="0">
                <a:latin typeface="+mj-lt"/>
              </a:rPr>
              <a:t> pipeline system)</a:t>
            </a:r>
            <a:endParaRPr lang="pt-BR" sz="1600" dirty="0">
              <a:latin typeface="+mj-lt"/>
            </a:endParaRPr>
          </a:p>
        </p:txBody>
      </p:sp>
      <p:pic>
        <p:nvPicPr>
          <p:cNvPr id="21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4655" y="1769365"/>
            <a:ext cx="2440621" cy="35771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Retângulo 21"/>
          <p:cNvSpPr/>
          <p:nvPr/>
        </p:nvSpPr>
        <p:spPr>
          <a:xfrm>
            <a:off x="10214655" y="1027812"/>
            <a:ext cx="2440620" cy="646331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algn="ctr"/>
            <a:r>
              <a:rPr lang="pt-BR" b="1" dirty="0" smtClean="0">
                <a:solidFill>
                  <a:schemeClr val="bg1"/>
                </a:solidFill>
                <a:effectLst/>
                <a:latin typeface="+mj-lt"/>
              </a:rPr>
              <a:t>IRON ORE </a:t>
            </a:r>
          </a:p>
          <a:p>
            <a:pPr algn="ctr"/>
            <a:r>
              <a:rPr lang="pt-BR" b="1" dirty="0" smtClean="0">
                <a:solidFill>
                  <a:schemeClr val="bg1"/>
                </a:solidFill>
                <a:effectLst/>
                <a:latin typeface="+mj-lt"/>
              </a:rPr>
              <a:t>PRODUCTION (E)</a:t>
            </a:r>
            <a:endParaRPr lang="pt-BR" dirty="0"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3" name="Retângulo 22"/>
          <p:cNvSpPr/>
          <p:nvPr/>
        </p:nvSpPr>
        <p:spPr>
          <a:xfrm>
            <a:off x="10134996" y="5346551"/>
            <a:ext cx="25922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400" b="1" u="sng" dirty="0" smtClean="0">
                <a:solidFill>
                  <a:schemeClr val="tx1"/>
                </a:solidFill>
                <a:effectLst/>
                <a:latin typeface="+mj-lt"/>
              </a:rPr>
              <a:t>Source</a:t>
            </a:r>
            <a:r>
              <a:rPr lang="pt-BR" sz="1400" b="1" dirty="0" smtClean="0">
                <a:solidFill>
                  <a:schemeClr val="tx1"/>
                </a:solidFill>
                <a:effectLst/>
                <a:latin typeface="+mj-lt"/>
              </a:rPr>
              <a:t>: </a:t>
            </a:r>
            <a:r>
              <a:rPr lang="pt-BR" sz="1400" dirty="0" smtClean="0">
                <a:solidFill>
                  <a:schemeClr val="tx1"/>
                </a:solidFill>
                <a:effectLst/>
                <a:latin typeface="+mj-lt"/>
              </a:rPr>
              <a:t>BI Samarco</a:t>
            </a:r>
            <a:endParaRPr lang="pt-BR" sz="1400" dirty="0"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07542467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29_OK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444"/>
            <a:ext cx="13357225" cy="7511861"/>
          </a:xfrm>
          <a:prstGeom prst="rect">
            <a:avLst/>
          </a:prstGeom>
        </p:spPr>
      </p:pic>
      <p:sp>
        <p:nvSpPr>
          <p:cNvPr id="24" name="Text Box 2"/>
          <p:cNvSpPr txBox="1">
            <a:spLocks noChangeArrowheads="1"/>
          </p:cNvSpPr>
          <p:nvPr/>
        </p:nvSpPr>
        <p:spPr bwMode="auto">
          <a:xfrm>
            <a:off x="1206004" y="377999"/>
            <a:ext cx="6984776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5220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lnSpc>
                <a:spcPct val="97000"/>
              </a:lnSpc>
            </a:pPr>
            <a:r>
              <a:rPr lang="en-US" alt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ENERGY EFFICIENCY AT PELLETIZING FURNACES </a:t>
            </a:r>
          </a:p>
          <a:p>
            <a:pPr>
              <a:lnSpc>
                <a:spcPct val="97000"/>
              </a:lnSpc>
            </a:pPr>
            <a:r>
              <a:rPr lang="en-US" altLang="pt-BR" sz="2000" b="1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COMPARISON TO OTHER PELLETING OPERATIONS</a:t>
            </a:r>
            <a:endParaRPr lang="en-US" altLang="pt-BR" sz="2000" b="1" dirty="0">
              <a:solidFill>
                <a:srgbClr val="00478E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242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m 14" descr="interna_ok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444"/>
            <a:ext cx="13357225" cy="7511861"/>
          </a:xfrm>
          <a:prstGeom prst="rect">
            <a:avLst/>
          </a:prstGeom>
        </p:spPr>
      </p:pic>
      <p:graphicFrame>
        <p:nvGraphicFramePr>
          <p:cNvPr id="5" name="Gráfico 4"/>
          <p:cNvGraphicFramePr/>
          <p:nvPr>
            <p:extLst>
              <p:ext uri="{D42A27DB-BD31-4B8C-83A1-F6EECF244321}">
                <p14:modId xmlns:p14="http://schemas.microsoft.com/office/powerpoint/2010/main" val="2608850760"/>
              </p:ext>
            </p:extLst>
          </p:nvPr>
        </p:nvGraphicFramePr>
        <p:xfrm>
          <a:off x="1061988" y="1242095"/>
          <a:ext cx="6318820" cy="4326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Gráfico 5"/>
          <p:cNvGraphicFramePr/>
          <p:nvPr>
            <p:extLst>
              <p:ext uri="{D42A27DB-BD31-4B8C-83A1-F6EECF244321}">
                <p14:modId xmlns:p14="http://schemas.microsoft.com/office/powerpoint/2010/main" val="3187079869"/>
              </p:ext>
            </p:extLst>
          </p:nvPr>
        </p:nvGraphicFramePr>
        <p:xfrm>
          <a:off x="8511346" y="4428537"/>
          <a:ext cx="3816177" cy="2088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Seta para a direita 6"/>
          <p:cNvSpPr/>
          <p:nvPr/>
        </p:nvSpPr>
        <p:spPr>
          <a:xfrm rot="2249826">
            <a:off x="10319218" y="5202535"/>
            <a:ext cx="648072" cy="216024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Text Box 2"/>
          <p:cNvSpPr txBox="1">
            <a:spLocks noChangeArrowheads="1"/>
          </p:cNvSpPr>
          <p:nvPr/>
        </p:nvSpPr>
        <p:spPr bwMode="auto">
          <a:xfrm>
            <a:off x="10536443" y="4698479"/>
            <a:ext cx="1254737" cy="74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89973" tIns="50384" rIns="89973" bIns="44986"/>
          <a:lstStyle/>
          <a:p>
            <a:pPr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endParaRPr lang="en-US" b="1" dirty="0">
              <a:solidFill>
                <a:srgbClr val="000000"/>
              </a:solidFill>
              <a:latin typeface="Trebuchet MS" pitchFamily="34" charset="0"/>
              <a:ea typeface="Arial Unicode MS" pitchFamily="34" charset="-128"/>
              <a:cs typeface="Arial Unicode MS" pitchFamily="34" charset="-128"/>
            </a:endParaRPr>
          </a:p>
          <a:p>
            <a:pPr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en-US" b="1" dirty="0" smtClean="0">
                <a:solidFill>
                  <a:srgbClr val="000000"/>
                </a:solidFill>
                <a:latin typeface="Trebuchet MS" pitchFamily="34" charset="0"/>
                <a:ea typeface="Arial Unicode MS" pitchFamily="34" charset="-128"/>
                <a:cs typeface="Arial Unicode MS" pitchFamily="34" charset="-128"/>
              </a:rPr>
              <a:t>-55%</a:t>
            </a:r>
            <a:endParaRPr lang="en-US" b="1" dirty="0">
              <a:solidFill>
                <a:srgbClr val="000000"/>
              </a:solidFill>
              <a:latin typeface="Trebuchet MS" pitchFamily="34" charset="0"/>
              <a:ea typeface="Arial Unicode MS"/>
              <a:cs typeface="Arial Unicode MS" pitchFamily="34" charset="-128"/>
            </a:endParaRPr>
          </a:p>
        </p:txBody>
      </p:sp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11290314" y="6414672"/>
            <a:ext cx="1254737" cy="74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89973" tIns="50384" rIns="89973" bIns="44986"/>
          <a:lstStyle/>
          <a:p>
            <a:pPr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en-US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Unicode MS"/>
                <a:cs typeface="Arial Unicode MS" pitchFamily="34" charset="-128"/>
              </a:rPr>
              <a:t>SOURCE: IBRAM</a:t>
            </a:r>
            <a:endParaRPr lang="en-US" sz="105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5958532" y="5634583"/>
            <a:ext cx="1614777" cy="74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89973" tIns="50384" rIns="89973" bIns="44986"/>
          <a:lstStyle/>
          <a:p>
            <a:pPr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en-US" sz="105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Unicode MS"/>
                <a:cs typeface="Arial Unicode MS" pitchFamily="34" charset="-128"/>
              </a:rPr>
              <a:t>SOURCE: SAMARCO</a:t>
            </a:r>
            <a:endParaRPr lang="en-US" sz="105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1350019" y="5706591"/>
            <a:ext cx="9361041" cy="208902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89973" tIns="50384" rIns="89973" bIns="44986"/>
          <a:lstStyle/>
          <a:p>
            <a:pPr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endParaRPr lang="en-US" sz="1400" b="1" dirty="0">
              <a:solidFill>
                <a:srgbClr val="000000"/>
              </a:solidFill>
              <a:latin typeface="+mj-lt"/>
              <a:ea typeface="Arial Unicode MS" pitchFamily="34" charset="-128"/>
              <a:cs typeface="Arial Unicode MS" pitchFamily="34" charset="-128"/>
            </a:endParaRPr>
          </a:p>
          <a:p>
            <a:pPr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en-US" sz="1400" b="1" dirty="0" smtClean="0">
                <a:solidFill>
                  <a:srgbClr val="00478E"/>
                </a:solidFill>
                <a:latin typeface="+mj-lt"/>
                <a:ea typeface="Arial Unicode MS" pitchFamily="34" charset="-128"/>
                <a:cs typeface="Arial Unicode MS" pitchFamily="34" charset="-128"/>
              </a:rPr>
              <a:t>MAIN ACTIONS:</a:t>
            </a:r>
          </a:p>
          <a:p>
            <a:pPr marL="180000" indent="-180000"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-"/>
              <a:defRPr/>
            </a:pPr>
            <a:r>
              <a:rPr 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Unicode MS" pitchFamily="34" charset="-128"/>
                <a:cs typeface="Arial Unicode MS" pitchFamily="34" charset="-128"/>
              </a:rPr>
              <a:t>2008: 3</a:t>
            </a:r>
            <a:r>
              <a:rPr lang="en-US" sz="1400" b="1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Unicode MS" pitchFamily="34" charset="-128"/>
                <a:cs typeface="Arial Unicode MS" pitchFamily="34" charset="-128"/>
              </a:rPr>
              <a:t>rd</a:t>
            </a:r>
            <a:r>
              <a:rPr 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Unicode MS" pitchFamily="34" charset="-128"/>
                <a:cs typeface="Arial Unicode MS" pitchFamily="34" charset="-128"/>
              </a:rPr>
              <a:t> pellet plant startup </a:t>
            </a:r>
            <a:r>
              <a:rPr 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Unicode MS" pitchFamily="34" charset="-128"/>
                <a:cs typeface="Arial Unicode MS" pitchFamily="34" charset="-128"/>
                <a:sym typeface="Wingdings" panose="05000000000000000000" pitchFamily="2" charset="2"/>
              </a:rPr>
              <a:t> 2014: 4</a:t>
            </a:r>
            <a:r>
              <a:rPr lang="en-US" sz="1400" b="1" baseline="30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Unicode MS" pitchFamily="34" charset="-128"/>
                <a:cs typeface="Arial Unicode MS" pitchFamily="34" charset="-128"/>
                <a:sym typeface="Wingdings" panose="05000000000000000000" pitchFamily="2" charset="2"/>
              </a:rPr>
              <a:t>th</a:t>
            </a:r>
            <a:r>
              <a:rPr 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Unicode MS" pitchFamily="34" charset="-128"/>
                <a:cs typeface="Arial Unicode MS" pitchFamily="34" charset="-128"/>
                <a:sym typeface="Wingdings" panose="05000000000000000000" pitchFamily="2" charset="2"/>
              </a:rPr>
              <a:t> pellet plant startup</a:t>
            </a:r>
            <a:r>
              <a:rPr 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Unicode MS" pitchFamily="34" charset="-128"/>
                <a:cs typeface="Arial Unicode MS" pitchFamily="34" charset="-128"/>
              </a:rPr>
              <a:t>.</a:t>
            </a:r>
          </a:p>
          <a:p>
            <a:pPr marL="180000" indent="-180000"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-"/>
              <a:defRPr/>
            </a:pPr>
            <a:r>
              <a:rPr 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Unicode MS" pitchFamily="34" charset="-128"/>
                <a:cs typeface="Arial Unicode MS" pitchFamily="34" charset="-128"/>
              </a:rPr>
              <a:t>2010: Natural gas replacing heavy fuel oil;</a:t>
            </a:r>
          </a:p>
          <a:p>
            <a:pPr marL="180000" indent="-180000"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Char char="-"/>
              <a:defRPr/>
            </a:pPr>
            <a:r>
              <a:rPr 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Arial Unicode MS" pitchFamily="34" charset="-128"/>
                <a:cs typeface="Arial Unicode MS" pitchFamily="34" charset="-128"/>
              </a:rPr>
              <a:t>Gains from LSS projects and other developments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Arial Unicode MS"/>
              <a:cs typeface="Arial Unicode MS" pitchFamily="34" charset="-128"/>
            </a:endParaRPr>
          </a:p>
        </p:txBody>
      </p:sp>
      <p:pic>
        <p:nvPicPr>
          <p:cNvPr id="12" name="Imagem 11" descr="bullet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350020" y="6283448"/>
            <a:ext cx="218028" cy="218028"/>
          </a:xfrm>
          <a:prstGeom prst="rect">
            <a:avLst/>
          </a:prstGeom>
        </p:spPr>
      </p:pic>
      <p:pic>
        <p:nvPicPr>
          <p:cNvPr id="13" name="Imagem 12" descr="bullet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350020" y="6516769"/>
            <a:ext cx="218028" cy="218028"/>
          </a:xfrm>
          <a:prstGeom prst="rect">
            <a:avLst/>
          </a:prstGeom>
        </p:spPr>
      </p:pic>
      <p:pic>
        <p:nvPicPr>
          <p:cNvPr id="14" name="Imagem 13" descr="bullet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350020" y="6785500"/>
            <a:ext cx="218028" cy="218028"/>
          </a:xfrm>
          <a:prstGeom prst="rect">
            <a:avLst/>
          </a:prstGeom>
        </p:spPr>
      </p:pic>
      <p:sp>
        <p:nvSpPr>
          <p:cNvPr id="16" name="Text Box 2"/>
          <p:cNvSpPr txBox="1">
            <a:spLocks noChangeArrowheads="1"/>
          </p:cNvSpPr>
          <p:nvPr/>
        </p:nvSpPr>
        <p:spPr bwMode="auto">
          <a:xfrm>
            <a:off x="1206004" y="377999"/>
            <a:ext cx="6984776" cy="720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52200" rIns="90000" bIns="45000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5pPr>
            <a:lvl6pPr marL="25146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6pPr>
            <a:lvl7pPr marL="29718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7pPr>
            <a:lvl8pPr marL="34290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8pPr>
            <a:lvl9pPr marL="3886200" indent="-228600" defTabSz="4572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>
                <a:solidFill>
                  <a:srgbClr val="000000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9pPr>
          </a:lstStyle>
          <a:p>
            <a:pPr>
              <a:lnSpc>
                <a:spcPct val="97000"/>
              </a:lnSpc>
            </a:pPr>
            <a:r>
              <a:rPr lang="en-US" alt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GHG EMISSION PERFORMANCE</a:t>
            </a:r>
          </a:p>
          <a:p>
            <a:pPr>
              <a:lnSpc>
                <a:spcPct val="97000"/>
              </a:lnSpc>
            </a:pPr>
            <a:r>
              <a:rPr lang="en-US" altLang="pt-BR" sz="2000" b="1" dirty="0" smtClean="0">
                <a:solidFill>
                  <a:srgbClr val="00478E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CARBON INVENTORY</a:t>
            </a:r>
          </a:p>
        </p:txBody>
      </p:sp>
      <p:sp>
        <p:nvSpPr>
          <p:cNvPr id="17" name="Seta para a direita 16"/>
          <p:cNvSpPr/>
          <p:nvPr/>
        </p:nvSpPr>
        <p:spPr>
          <a:xfrm rot="2249826">
            <a:off x="4013115" y="3114303"/>
            <a:ext cx="648072" cy="216024"/>
          </a:xfrm>
          <a:prstGeom prst="rightArrow">
            <a:avLst/>
          </a:prstGeom>
          <a:solidFill>
            <a:schemeClr val="accent5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Text Box 2"/>
          <p:cNvSpPr txBox="1">
            <a:spLocks noChangeArrowheads="1"/>
          </p:cNvSpPr>
          <p:nvPr/>
        </p:nvSpPr>
        <p:spPr bwMode="auto">
          <a:xfrm>
            <a:off x="4343755" y="2610247"/>
            <a:ext cx="1254737" cy="74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89973" tIns="50384" rIns="89973" bIns="44986"/>
          <a:lstStyle/>
          <a:p>
            <a:pPr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endParaRPr lang="en-US" b="1" dirty="0">
              <a:solidFill>
                <a:srgbClr val="000000"/>
              </a:solidFill>
              <a:latin typeface="Trebuchet MS" pitchFamily="34" charset="0"/>
              <a:ea typeface="Arial Unicode MS" pitchFamily="34" charset="-128"/>
              <a:cs typeface="Arial Unicode MS" pitchFamily="34" charset="-128"/>
            </a:endParaRPr>
          </a:p>
          <a:p>
            <a:pPr defTabSz="455613" fontAlgn="base" hangingPunct="0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defRPr/>
            </a:pPr>
            <a:r>
              <a:rPr lang="en-US" b="1" dirty="0" smtClean="0">
                <a:solidFill>
                  <a:srgbClr val="000000"/>
                </a:solidFill>
                <a:latin typeface="Trebuchet MS" pitchFamily="34" charset="0"/>
                <a:ea typeface="Arial Unicode MS" pitchFamily="34" charset="-128"/>
                <a:cs typeface="Arial Unicode MS" pitchFamily="34" charset="-128"/>
              </a:rPr>
              <a:t>10 -15%</a:t>
            </a:r>
            <a:endParaRPr lang="en-US" b="1" dirty="0">
              <a:solidFill>
                <a:srgbClr val="000000"/>
              </a:solidFill>
              <a:latin typeface="Trebuchet MS" pitchFamily="34" charset="0"/>
              <a:ea typeface="Arial Unicode MS"/>
              <a:cs typeface="Arial Unicode MS" pitchFamily="34" charset="-128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82" t="15541" r="32200" b="10294"/>
          <a:stretch/>
        </p:blipFill>
        <p:spPr bwMode="auto">
          <a:xfrm>
            <a:off x="7386543" y="1250124"/>
            <a:ext cx="2676445" cy="2656267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00" t="15409" r="31846" b="10894"/>
          <a:stretch/>
        </p:blipFill>
        <p:spPr bwMode="auto">
          <a:xfrm>
            <a:off x="10053155" y="1234929"/>
            <a:ext cx="2724095" cy="2671462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88115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8Whtemtk610UHVQWKGzA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3</TotalTime>
  <Words>468</Words>
  <Application>Microsoft Office PowerPoint</Application>
  <PresentationFormat>Personalizar</PresentationFormat>
  <Paragraphs>84</Paragraphs>
  <Slides>11</Slides>
  <Notes>1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12" baseType="lpstr">
      <vt:lpstr>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eandro</dc:creator>
  <cp:lastModifiedBy>Denilson Rodrigues de Araujo</cp:lastModifiedBy>
  <cp:revision>205</cp:revision>
  <cp:lastPrinted>2015-05-21T20:44:38Z</cp:lastPrinted>
  <dcterms:created xsi:type="dcterms:W3CDTF">2015-05-19T17:31:38Z</dcterms:created>
  <dcterms:modified xsi:type="dcterms:W3CDTF">2015-08-30T17:38:25Z</dcterms:modified>
</cp:coreProperties>
</file>